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Override3.xml" ContentType="application/vnd.openxmlformats-officedocument.themeOverr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Override4.xml" ContentType="application/vnd.openxmlformats-officedocument.themeOverr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heme/themeOverride5.xml" ContentType="application/vnd.openxmlformats-officedocument.themeOverr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heme/themeOverride6.xml" ContentType="application/vnd.openxmlformats-officedocument.themeOverr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heme/themeOverride7.xml" ContentType="application/vnd.openxmlformats-officedocument.themeOverr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heme/themeOverride8.xml" ContentType="application/vnd.openxmlformats-officedocument.themeOverrid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heme/themeOverride9.xml" ContentType="application/vnd.openxmlformats-officedocument.themeOverr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heme/themeOverride10.xml" ContentType="application/vnd.openxmlformats-officedocument.themeOverr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 id="2147483655" r:id="rId2"/>
    <p:sldMasterId id="2147483662" r:id="rId3"/>
    <p:sldMasterId id="2147483669" r:id="rId4"/>
    <p:sldMasterId id="2147483676" r:id="rId5"/>
  </p:sldMasterIdLst>
  <p:notesMasterIdLst>
    <p:notesMasterId r:id="rId40"/>
  </p:notesMasterIdLst>
  <p:handoutMasterIdLst>
    <p:handoutMasterId r:id="rId41"/>
  </p:handoutMasterIdLst>
  <p:sldIdLst>
    <p:sldId id="256" r:id="rId6"/>
    <p:sldId id="336" r:id="rId7"/>
    <p:sldId id="258" r:id="rId8"/>
    <p:sldId id="335" r:id="rId9"/>
    <p:sldId id="334" r:id="rId10"/>
    <p:sldId id="295" r:id="rId11"/>
    <p:sldId id="331" r:id="rId12"/>
    <p:sldId id="332" r:id="rId13"/>
    <p:sldId id="333" r:id="rId14"/>
    <p:sldId id="366" r:id="rId15"/>
    <p:sldId id="367" r:id="rId16"/>
    <p:sldId id="296" r:id="rId17"/>
    <p:sldId id="337" r:id="rId18"/>
    <p:sldId id="339" r:id="rId19"/>
    <p:sldId id="340" r:id="rId20"/>
    <p:sldId id="298" r:id="rId21"/>
    <p:sldId id="342" r:id="rId22"/>
    <p:sldId id="344" r:id="rId23"/>
    <p:sldId id="300" r:id="rId24"/>
    <p:sldId id="329" r:id="rId25"/>
    <p:sldId id="330" r:id="rId26"/>
    <p:sldId id="348" r:id="rId27"/>
    <p:sldId id="280" r:id="rId28"/>
    <p:sldId id="350" r:id="rId29"/>
    <p:sldId id="351" r:id="rId30"/>
    <p:sldId id="352" r:id="rId31"/>
    <p:sldId id="261" r:id="rId32"/>
    <p:sldId id="345" r:id="rId33"/>
    <p:sldId id="346" r:id="rId34"/>
    <p:sldId id="353" r:id="rId35"/>
    <p:sldId id="391" r:id="rId36"/>
    <p:sldId id="347" r:id="rId37"/>
    <p:sldId id="392" r:id="rId38"/>
    <p:sldId id="290" r:id="rId39"/>
  </p:sldIdLst>
  <p:sldSz cx="12192000" cy="6858000"/>
  <p:notesSz cx="6858000" cy="9144000"/>
  <p:custDataLst>
    <p:tags r:id="rId4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F82C4"/>
    <a:srgbClr val="A20000"/>
    <a:srgbClr val="A40000"/>
    <a:srgbClr val="9E0000"/>
    <a:srgbClr val="C7450B"/>
    <a:srgbClr val="E24E0C"/>
    <a:srgbClr val="DC6140"/>
    <a:srgbClr val="E60000"/>
    <a:srgbClr val="C9670D"/>
    <a:srgbClr val="66B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4" autoAdjust="0"/>
    <p:restoredTop sz="96182" autoAdjust="0"/>
  </p:normalViewPr>
  <p:slideViewPr>
    <p:cSldViewPr snapToGrid="0">
      <p:cViewPr varScale="1">
        <p:scale>
          <a:sx n="85" d="100"/>
          <a:sy n="85" d="100"/>
        </p:scale>
        <p:origin x="108" y="174"/>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commentAuthors" Target="commentAuthors.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2/6/25</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2/6/2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pic>
        <p:nvPicPr>
          <p:cNvPr id="6" name="图形 5"/>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0"/>
            <a:ext cx="12192000" cy="6858000"/>
          </a:xfrm>
          <a:prstGeom prst="rect">
            <a:avLst/>
          </a:prstGeom>
        </p:spPr>
      </p:pic>
      <p:sp>
        <p:nvSpPr>
          <p:cNvPr id="9801" name="副标题 9800"/>
          <p:cNvSpPr>
            <a:spLocks noGrp="1"/>
          </p:cNvSpPr>
          <p:nvPr userDrawn="1">
            <p:ph type="subTitle" idx="1"/>
          </p:nvPr>
        </p:nvSpPr>
        <p:spPr>
          <a:xfrm>
            <a:off x="1041399" y="5633743"/>
            <a:ext cx="7175501" cy="558799"/>
          </a:xfrm>
        </p:spPr>
        <p:txBody>
          <a:bodyPr anchor="t">
            <a:normAutofit/>
          </a:bodyPr>
          <a:lstStyle>
            <a:lvl1pPr marL="0" indent="0" algn="l">
              <a:buNone/>
              <a:defRPr sz="1600">
                <a:solidFill>
                  <a:srgbClr val="3F82C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802" name="标题 9801"/>
          <p:cNvSpPr>
            <a:spLocks noGrp="1"/>
          </p:cNvSpPr>
          <p:nvPr userDrawn="1">
            <p:ph type="ctrTitle"/>
          </p:nvPr>
        </p:nvSpPr>
        <p:spPr>
          <a:xfrm>
            <a:off x="1041399" y="3086100"/>
            <a:ext cx="7175501" cy="2237785"/>
          </a:xfrm>
        </p:spPr>
        <p:txBody>
          <a:bodyPr anchor="b">
            <a:normAutofit/>
          </a:bodyPr>
          <a:lstStyle>
            <a:lvl1pPr algn="l">
              <a:defRPr sz="4000">
                <a:solidFill>
                  <a:srgbClr val="3F82C4"/>
                </a:solidFill>
              </a:defRPr>
            </a:lvl1pPr>
          </a:lstStyle>
          <a:p>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8331199" y="3086100"/>
            <a:ext cx="2565401" cy="245363"/>
          </a:xfrm>
        </p:spPr>
        <p:txBody>
          <a:bodyPr vert="horz" anchor="ctr">
            <a:noAutofit/>
          </a:bodyPr>
          <a:lstStyle>
            <a:lvl1pPr marL="0" indent="0" algn="l">
              <a:buNone/>
              <a:defRPr sz="1400" b="0">
                <a:solidFill>
                  <a:schemeClr val="accent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8331199" y="3382371"/>
            <a:ext cx="2565401" cy="245363"/>
          </a:xfrm>
        </p:spPr>
        <p:txBody>
          <a:bodyPr vert="horz" anchor="ctr">
            <a:noAutofit/>
          </a:bodyPr>
          <a:lstStyle>
            <a:lvl1pPr marL="0" indent="0" algn="l">
              <a:buNone/>
              <a:defRPr sz="1400" b="0">
                <a:solidFill>
                  <a:schemeClr val="accent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cxnSp>
        <p:nvCxnSpPr>
          <p:cNvPr id="7" name="直接连接符 6"/>
          <p:cNvCxnSpPr/>
          <p:nvPr userDrawn="1"/>
        </p:nvCxnSpPr>
        <p:spPr>
          <a:xfrm>
            <a:off x="1041399" y="5511167"/>
            <a:ext cx="7175501" cy="0"/>
          </a:xfrm>
          <a:prstGeom prst="line">
            <a:avLst/>
          </a:prstGeom>
          <a:ln>
            <a:solidFill>
              <a:srgbClr val="D1E1EB"/>
            </a:solidFill>
          </a:ln>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日期占位符 2"/>
          <p:cNvSpPr>
            <a:spLocks noGrp="1"/>
          </p:cNvSpPr>
          <p:nvPr>
            <p:ph type="dt" sz="half" idx="10"/>
          </p:nvPr>
        </p:nvSpPr>
        <p:spPr/>
        <p:txBody>
          <a:bodyPr/>
          <a:lstStyle/>
          <a:p>
            <a:fld id="{6489D9C7-5DC6-4263-87FF-7C99F6FB63C3}" type="datetime1">
              <a:rPr lang="zh-CN" altLang="en-US" smtClean="0"/>
              <a:t>2022/6/25</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Tree>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pic>
        <p:nvPicPr>
          <p:cNvPr id="5" name="图形 4"/>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0"/>
            <a:ext cx="12192000" cy="6858000"/>
          </a:xfrm>
          <a:prstGeom prst="rect">
            <a:avLst/>
          </a:prstGeom>
        </p:spPr>
      </p:pic>
      <p:sp>
        <p:nvSpPr>
          <p:cNvPr id="13" name="标题 12"/>
          <p:cNvSpPr>
            <a:spLocks noGrp="1"/>
          </p:cNvSpPr>
          <p:nvPr userDrawn="1">
            <p:ph type="ctrTitle" hasCustomPrompt="1"/>
          </p:nvPr>
        </p:nvSpPr>
        <p:spPr>
          <a:xfrm>
            <a:off x="1346202" y="3001963"/>
            <a:ext cx="6426198" cy="1621509"/>
          </a:xfrm>
        </p:spPr>
        <p:txBody>
          <a:bodyPr anchor="b">
            <a:normAutofit/>
          </a:bodyPr>
          <a:lstStyle>
            <a:lvl1pPr marL="0" indent="0" algn="l">
              <a:buFont typeface="Arial" panose="020B0604020202020204" pitchFamily="34" charset="0"/>
              <a:buNone/>
              <a:defRPr sz="3200">
                <a:solidFill>
                  <a:schemeClr val="accent1">
                    <a:lumMod val="60000"/>
                    <a:lumOff val="40000"/>
                  </a:schemeClr>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346202" y="5308199"/>
            <a:ext cx="6426198" cy="310871"/>
          </a:xfrm>
        </p:spPr>
        <p:txBody>
          <a:bodyPr vert="horz" lIns="91440" tIns="45720" rIns="91440" bIns="45720" rtlCol="0">
            <a:normAutofit/>
          </a:bodyPr>
          <a:lstStyle>
            <a:lvl1pPr marL="0" indent="0" algn="l">
              <a:buNone/>
              <a:defRPr lang="zh-CN" altLang="en-US" sz="1400" smtClean="0">
                <a:solidFill>
                  <a:schemeClr val="accent1">
                    <a:lumMod val="60000"/>
                    <a:lumOff val="40000"/>
                  </a:schemeClr>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5"/>
          <p:cNvSpPr>
            <a:spLocks noGrp="1"/>
          </p:cNvSpPr>
          <p:nvPr>
            <p:ph type="body" sz="quarter" idx="10" hasCustomPrompt="1"/>
          </p:nvPr>
        </p:nvSpPr>
        <p:spPr>
          <a:xfrm>
            <a:off x="1346204" y="5011928"/>
            <a:ext cx="6426198" cy="296271"/>
          </a:xfrm>
        </p:spPr>
        <p:txBody>
          <a:bodyPr vert="horz" anchor="ctr">
            <a:noAutofit/>
          </a:bodyPr>
          <a:lstStyle>
            <a:lvl1pPr marL="0" indent="0" algn="l">
              <a:buNone/>
              <a:defRPr sz="1400" b="0">
                <a:solidFill>
                  <a:schemeClr val="accent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cxnSp>
        <p:nvCxnSpPr>
          <p:cNvPr id="7" name="直接连接符 6"/>
          <p:cNvCxnSpPr/>
          <p:nvPr userDrawn="1"/>
        </p:nvCxnSpPr>
        <p:spPr>
          <a:xfrm>
            <a:off x="1346202" y="4850767"/>
            <a:ext cx="6426198" cy="0"/>
          </a:xfrm>
          <a:prstGeom prst="line">
            <a:avLst/>
          </a:prstGeom>
          <a:ln>
            <a:solidFill>
              <a:srgbClr val="D1E1EB"/>
            </a:solidFill>
          </a:ln>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pic>
        <p:nvPicPr>
          <p:cNvPr id="6" name="图形 5"/>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0"/>
            <a:ext cx="12192000" cy="6858000"/>
          </a:xfrm>
          <a:prstGeom prst="rect">
            <a:avLst/>
          </a:prstGeom>
        </p:spPr>
      </p:pic>
      <p:sp>
        <p:nvSpPr>
          <p:cNvPr id="9801" name="副标题 9800"/>
          <p:cNvSpPr>
            <a:spLocks noGrp="1"/>
          </p:cNvSpPr>
          <p:nvPr userDrawn="1">
            <p:ph type="subTitle" idx="1"/>
          </p:nvPr>
        </p:nvSpPr>
        <p:spPr>
          <a:xfrm>
            <a:off x="1041399" y="5633743"/>
            <a:ext cx="7175501" cy="558799"/>
          </a:xfrm>
        </p:spPr>
        <p:txBody>
          <a:bodyPr anchor="t">
            <a:normAutofit/>
          </a:bodyPr>
          <a:lstStyle>
            <a:lvl1pPr marL="0" indent="0" algn="l">
              <a:buNone/>
              <a:defRPr sz="1600">
                <a:solidFill>
                  <a:srgbClr val="3F82C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802" name="标题 9801"/>
          <p:cNvSpPr>
            <a:spLocks noGrp="1"/>
          </p:cNvSpPr>
          <p:nvPr userDrawn="1">
            <p:ph type="ctrTitle"/>
          </p:nvPr>
        </p:nvSpPr>
        <p:spPr>
          <a:xfrm>
            <a:off x="1041399" y="3086100"/>
            <a:ext cx="7175501" cy="2237785"/>
          </a:xfrm>
        </p:spPr>
        <p:txBody>
          <a:bodyPr anchor="b">
            <a:normAutofit/>
          </a:bodyPr>
          <a:lstStyle>
            <a:lvl1pPr algn="l">
              <a:defRPr sz="4000">
                <a:solidFill>
                  <a:srgbClr val="3F82C4"/>
                </a:solidFill>
              </a:defRPr>
            </a:lvl1pPr>
          </a:lstStyle>
          <a:p>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8331199" y="3086100"/>
            <a:ext cx="2565401" cy="245363"/>
          </a:xfrm>
        </p:spPr>
        <p:txBody>
          <a:bodyPr vert="horz" anchor="ctr">
            <a:noAutofit/>
          </a:bodyPr>
          <a:lstStyle>
            <a:lvl1pPr marL="0" indent="0" algn="l">
              <a:buNone/>
              <a:defRPr sz="1400" b="0">
                <a:solidFill>
                  <a:schemeClr val="accent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8331199" y="3382371"/>
            <a:ext cx="2565401" cy="245363"/>
          </a:xfrm>
        </p:spPr>
        <p:txBody>
          <a:bodyPr vert="horz" anchor="ctr">
            <a:noAutofit/>
          </a:bodyPr>
          <a:lstStyle>
            <a:lvl1pPr marL="0" indent="0" algn="l">
              <a:buNone/>
              <a:defRPr sz="1400" b="0">
                <a:solidFill>
                  <a:schemeClr val="accent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cxnSp>
        <p:nvCxnSpPr>
          <p:cNvPr id="7" name="直接连接符 6"/>
          <p:cNvCxnSpPr/>
          <p:nvPr userDrawn="1"/>
        </p:nvCxnSpPr>
        <p:spPr>
          <a:xfrm>
            <a:off x="1041399" y="5511167"/>
            <a:ext cx="7175501" cy="0"/>
          </a:xfrm>
          <a:prstGeom prst="line">
            <a:avLst/>
          </a:prstGeom>
          <a:ln>
            <a:solidFill>
              <a:srgbClr val="D1E1EB"/>
            </a:solidFill>
          </a:ln>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2352098" y="2533650"/>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2353214" y="3733086"/>
            <a:ext cx="5419185" cy="1015623"/>
          </a:xfrm>
        </p:spPr>
        <p:txBody>
          <a:bodyPr anchor="t">
            <a:normAutofit/>
          </a:bodyPr>
          <a:lstStyle>
            <a:lvl1pPr marL="0" indent="0" algn="l">
              <a:lnSpc>
                <a:spcPct val="150000"/>
              </a:lnSpc>
              <a:spcBef>
                <a:spcPts val="0"/>
              </a:spcBef>
              <a:buNone/>
              <a:defRPr sz="11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pic>
        <p:nvPicPr>
          <p:cNvPr id="4" name="图形 3"/>
          <p:cNvPicPr>
            <a:picLocks noChangeAspect="1"/>
          </p:cNvPicPr>
          <p:nvPr userDrawn="1"/>
        </p:nvPicPr>
        <p:blipFill rotWithShape="1">
          <a:blip r:embed="rId2">
            <a:extLst>
              <a:ext uri="{96DAC541-7B7A-43D3-8B79-37D633B846F1}">
                <asvg:svgBlip xmlns:asvg="http://schemas.microsoft.com/office/drawing/2016/SVG/main" r:embed="rId3"/>
              </a:ext>
            </a:extLst>
          </a:blip>
          <a:srcRect l="469" r="65582"/>
          <a:stretch>
            <a:fillRect/>
          </a:stretch>
        </p:blipFill>
        <p:spPr>
          <a:xfrm flipH="1" flipV="1">
            <a:off x="8013701" y="0"/>
            <a:ext cx="4178299" cy="6858000"/>
          </a:xfrm>
          <a:prstGeom prst="rect">
            <a:avLst/>
          </a:prstGeom>
        </p:spPr>
      </p:pic>
      <p:cxnSp>
        <p:nvCxnSpPr>
          <p:cNvPr id="5" name="直接连接符 4"/>
          <p:cNvCxnSpPr/>
          <p:nvPr userDrawn="1"/>
        </p:nvCxnSpPr>
        <p:spPr>
          <a:xfrm>
            <a:off x="2352098" y="3590746"/>
            <a:ext cx="7175501" cy="0"/>
          </a:xfrm>
          <a:prstGeom prst="line">
            <a:avLst/>
          </a:prstGeom>
          <a:ln>
            <a:solidFill>
              <a:srgbClr val="D1E1EB"/>
            </a:solidFill>
          </a:ln>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2/6/25</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日期占位符 2"/>
          <p:cNvSpPr>
            <a:spLocks noGrp="1"/>
          </p:cNvSpPr>
          <p:nvPr>
            <p:ph type="dt" sz="half" idx="10"/>
          </p:nvPr>
        </p:nvSpPr>
        <p:spPr/>
        <p:txBody>
          <a:bodyPr/>
          <a:lstStyle/>
          <a:p>
            <a:fld id="{6489D9C7-5DC6-4263-87FF-7C99F6FB63C3}" type="datetime1">
              <a:rPr lang="zh-CN" altLang="en-US" smtClean="0"/>
              <a:t>2022/6/25</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Tree>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pic>
        <p:nvPicPr>
          <p:cNvPr id="5" name="图形 4"/>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0"/>
            <a:ext cx="12192000" cy="6858000"/>
          </a:xfrm>
          <a:prstGeom prst="rect">
            <a:avLst/>
          </a:prstGeom>
        </p:spPr>
      </p:pic>
      <p:sp>
        <p:nvSpPr>
          <p:cNvPr id="13" name="标题 12"/>
          <p:cNvSpPr>
            <a:spLocks noGrp="1"/>
          </p:cNvSpPr>
          <p:nvPr userDrawn="1">
            <p:ph type="ctrTitle" hasCustomPrompt="1"/>
          </p:nvPr>
        </p:nvSpPr>
        <p:spPr>
          <a:xfrm>
            <a:off x="1346202" y="3001963"/>
            <a:ext cx="6426198" cy="1621509"/>
          </a:xfrm>
        </p:spPr>
        <p:txBody>
          <a:bodyPr anchor="b">
            <a:normAutofit/>
          </a:bodyPr>
          <a:lstStyle>
            <a:lvl1pPr marL="0" indent="0" algn="l">
              <a:buFont typeface="Arial" panose="020B0604020202020204" pitchFamily="34" charset="0"/>
              <a:buNone/>
              <a:defRPr sz="3200">
                <a:solidFill>
                  <a:schemeClr val="accent1">
                    <a:lumMod val="60000"/>
                    <a:lumOff val="40000"/>
                  </a:schemeClr>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346202" y="5308199"/>
            <a:ext cx="6426198" cy="310871"/>
          </a:xfrm>
        </p:spPr>
        <p:txBody>
          <a:bodyPr vert="horz" lIns="91440" tIns="45720" rIns="91440" bIns="45720" rtlCol="0">
            <a:normAutofit/>
          </a:bodyPr>
          <a:lstStyle>
            <a:lvl1pPr marL="0" indent="0" algn="l">
              <a:buNone/>
              <a:defRPr lang="zh-CN" altLang="en-US" sz="1400" smtClean="0">
                <a:solidFill>
                  <a:schemeClr val="accent1">
                    <a:lumMod val="60000"/>
                    <a:lumOff val="40000"/>
                  </a:schemeClr>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5"/>
          <p:cNvSpPr>
            <a:spLocks noGrp="1"/>
          </p:cNvSpPr>
          <p:nvPr>
            <p:ph type="body" sz="quarter" idx="10" hasCustomPrompt="1"/>
          </p:nvPr>
        </p:nvSpPr>
        <p:spPr>
          <a:xfrm>
            <a:off x="1346204" y="5011928"/>
            <a:ext cx="6426198" cy="296271"/>
          </a:xfrm>
        </p:spPr>
        <p:txBody>
          <a:bodyPr vert="horz" anchor="ctr">
            <a:noAutofit/>
          </a:bodyPr>
          <a:lstStyle>
            <a:lvl1pPr marL="0" indent="0" algn="l">
              <a:buNone/>
              <a:defRPr sz="1400" b="0">
                <a:solidFill>
                  <a:schemeClr val="accent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cxnSp>
        <p:nvCxnSpPr>
          <p:cNvPr id="7" name="直接连接符 6"/>
          <p:cNvCxnSpPr/>
          <p:nvPr userDrawn="1"/>
        </p:nvCxnSpPr>
        <p:spPr>
          <a:xfrm>
            <a:off x="1346202" y="4850767"/>
            <a:ext cx="6426198" cy="0"/>
          </a:xfrm>
          <a:prstGeom prst="line">
            <a:avLst/>
          </a:prstGeom>
          <a:ln>
            <a:solidFill>
              <a:srgbClr val="D1E1EB"/>
            </a:solidFill>
          </a:ln>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pic>
        <p:nvPicPr>
          <p:cNvPr id="6" name="图形 5"/>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0"/>
            <a:ext cx="12192000" cy="6858000"/>
          </a:xfrm>
          <a:prstGeom prst="rect">
            <a:avLst/>
          </a:prstGeom>
        </p:spPr>
      </p:pic>
      <p:sp>
        <p:nvSpPr>
          <p:cNvPr id="9801" name="副标题 9800"/>
          <p:cNvSpPr>
            <a:spLocks noGrp="1"/>
          </p:cNvSpPr>
          <p:nvPr userDrawn="1">
            <p:ph type="subTitle" idx="1"/>
          </p:nvPr>
        </p:nvSpPr>
        <p:spPr>
          <a:xfrm>
            <a:off x="1041399" y="5633743"/>
            <a:ext cx="7175501" cy="558799"/>
          </a:xfrm>
        </p:spPr>
        <p:txBody>
          <a:bodyPr anchor="t">
            <a:normAutofit/>
          </a:bodyPr>
          <a:lstStyle>
            <a:lvl1pPr marL="0" indent="0" algn="l">
              <a:buNone/>
              <a:defRPr sz="1600">
                <a:solidFill>
                  <a:srgbClr val="3F82C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802" name="标题 9801"/>
          <p:cNvSpPr>
            <a:spLocks noGrp="1"/>
          </p:cNvSpPr>
          <p:nvPr userDrawn="1">
            <p:ph type="ctrTitle"/>
          </p:nvPr>
        </p:nvSpPr>
        <p:spPr>
          <a:xfrm>
            <a:off x="1041399" y="3086100"/>
            <a:ext cx="7175501" cy="2237785"/>
          </a:xfrm>
        </p:spPr>
        <p:txBody>
          <a:bodyPr anchor="b">
            <a:normAutofit/>
          </a:bodyPr>
          <a:lstStyle>
            <a:lvl1pPr algn="l">
              <a:defRPr sz="4000">
                <a:solidFill>
                  <a:srgbClr val="3F82C4"/>
                </a:solidFill>
              </a:defRPr>
            </a:lvl1pPr>
          </a:lstStyle>
          <a:p>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8331199" y="3086100"/>
            <a:ext cx="2565401" cy="245363"/>
          </a:xfrm>
        </p:spPr>
        <p:txBody>
          <a:bodyPr vert="horz" anchor="ctr">
            <a:noAutofit/>
          </a:bodyPr>
          <a:lstStyle>
            <a:lvl1pPr marL="0" indent="0" algn="l">
              <a:buNone/>
              <a:defRPr sz="1400" b="0">
                <a:solidFill>
                  <a:schemeClr val="accent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8331199" y="3382371"/>
            <a:ext cx="2565401" cy="245363"/>
          </a:xfrm>
        </p:spPr>
        <p:txBody>
          <a:bodyPr vert="horz" anchor="ctr">
            <a:noAutofit/>
          </a:bodyPr>
          <a:lstStyle>
            <a:lvl1pPr marL="0" indent="0" algn="l">
              <a:buNone/>
              <a:defRPr sz="1400" b="0">
                <a:solidFill>
                  <a:schemeClr val="accent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cxnSp>
        <p:nvCxnSpPr>
          <p:cNvPr id="7" name="直接连接符 6"/>
          <p:cNvCxnSpPr/>
          <p:nvPr userDrawn="1"/>
        </p:nvCxnSpPr>
        <p:spPr>
          <a:xfrm>
            <a:off x="1041399" y="5511167"/>
            <a:ext cx="7175501" cy="0"/>
          </a:xfrm>
          <a:prstGeom prst="line">
            <a:avLst/>
          </a:prstGeom>
          <a:ln>
            <a:solidFill>
              <a:srgbClr val="D1E1EB"/>
            </a:solidFill>
          </a:ln>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2352098" y="2533650"/>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2353214" y="3733086"/>
            <a:ext cx="5419185" cy="1015623"/>
          </a:xfrm>
        </p:spPr>
        <p:txBody>
          <a:bodyPr anchor="t">
            <a:normAutofit/>
          </a:bodyPr>
          <a:lstStyle>
            <a:lvl1pPr marL="0" indent="0" algn="l">
              <a:lnSpc>
                <a:spcPct val="150000"/>
              </a:lnSpc>
              <a:spcBef>
                <a:spcPts val="0"/>
              </a:spcBef>
              <a:buNone/>
              <a:defRPr sz="11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pic>
        <p:nvPicPr>
          <p:cNvPr id="4" name="图形 3"/>
          <p:cNvPicPr>
            <a:picLocks noChangeAspect="1"/>
          </p:cNvPicPr>
          <p:nvPr userDrawn="1"/>
        </p:nvPicPr>
        <p:blipFill rotWithShape="1">
          <a:blip r:embed="rId2">
            <a:extLst>
              <a:ext uri="{96DAC541-7B7A-43D3-8B79-37D633B846F1}">
                <asvg:svgBlip xmlns:asvg="http://schemas.microsoft.com/office/drawing/2016/SVG/main" r:embed="rId3"/>
              </a:ext>
            </a:extLst>
          </a:blip>
          <a:srcRect l="469" r="65582"/>
          <a:stretch>
            <a:fillRect/>
          </a:stretch>
        </p:blipFill>
        <p:spPr>
          <a:xfrm flipH="1" flipV="1">
            <a:off x="8013701" y="0"/>
            <a:ext cx="4178299" cy="6858000"/>
          </a:xfrm>
          <a:prstGeom prst="rect">
            <a:avLst/>
          </a:prstGeom>
        </p:spPr>
      </p:pic>
      <p:cxnSp>
        <p:nvCxnSpPr>
          <p:cNvPr id="5" name="直接连接符 4"/>
          <p:cNvCxnSpPr/>
          <p:nvPr userDrawn="1"/>
        </p:nvCxnSpPr>
        <p:spPr>
          <a:xfrm>
            <a:off x="2352098" y="3590746"/>
            <a:ext cx="7175501" cy="0"/>
          </a:xfrm>
          <a:prstGeom prst="line">
            <a:avLst/>
          </a:prstGeom>
          <a:ln>
            <a:solidFill>
              <a:srgbClr val="D1E1EB"/>
            </a:solidFill>
          </a:ln>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2352098" y="2533650"/>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2353214" y="3733086"/>
            <a:ext cx="5419185" cy="1015623"/>
          </a:xfrm>
        </p:spPr>
        <p:txBody>
          <a:bodyPr anchor="t">
            <a:normAutofit/>
          </a:bodyPr>
          <a:lstStyle>
            <a:lvl1pPr marL="0" indent="0" algn="l">
              <a:lnSpc>
                <a:spcPct val="150000"/>
              </a:lnSpc>
              <a:spcBef>
                <a:spcPts val="0"/>
              </a:spcBef>
              <a:buNone/>
              <a:defRPr sz="11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pic>
        <p:nvPicPr>
          <p:cNvPr id="4" name="图形 3"/>
          <p:cNvPicPr>
            <a:picLocks noChangeAspect="1"/>
          </p:cNvPicPr>
          <p:nvPr userDrawn="1"/>
        </p:nvPicPr>
        <p:blipFill rotWithShape="1">
          <a:blip r:embed="rId2">
            <a:extLst>
              <a:ext uri="{96DAC541-7B7A-43D3-8B79-37D633B846F1}">
                <asvg:svgBlip xmlns:asvg="http://schemas.microsoft.com/office/drawing/2016/SVG/main" r:embed="rId3"/>
              </a:ext>
            </a:extLst>
          </a:blip>
          <a:srcRect l="469" r="65582"/>
          <a:stretch>
            <a:fillRect/>
          </a:stretch>
        </p:blipFill>
        <p:spPr>
          <a:xfrm flipH="1" flipV="1">
            <a:off x="8013701" y="0"/>
            <a:ext cx="4178299" cy="6858000"/>
          </a:xfrm>
          <a:prstGeom prst="rect">
            <a:avLst/>
          </a:prstGeom>
        </p:spPr>
      </p:pic>
      <p:cxnSp>
        <p:nvCxnSpPr>
          <p:cNvPr id="5" name="直接连接符 4"/>
          <p:cNvCxnSpPr/>
          <p:nvPr userDrawn="1"/>
        </p:nvCxnSpPr>
        <p:spPr>
          <a:xfrm>
            <a:off x="2352098" y="3590746"/>
            <a:ext cx="7175501" cy="0"/>
          </a:xfrm>
          <a:prstGeom prst="line">
            <a:avLst/>
          </a:prstGeom>
          <a:ln>
            <a:solidFill>
              <a:srgbClr val="D1E1EB"/>
            </a:solidFill>
          </a:ln>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2/6/25</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日期占位符 2"/>
          <p:cNvSpPr>
            <a:spLocks noGrp="1"/>
          </p:cNvSpPr>
          <p:nvPr>
            <p:ph type="dt" sz="half" idx="10"/>
          </p:nvPr>
        </p:nvSpPr>
        <p:spPr/>
        <p:txBody>
          <a:bodyPr/>
          <a:lstStyle/>
          <a:p>
            <a:fld id="{6489D9C7-5DC6-4263-87FF-7C99F6FB63C3}" type="datetime1">
              <a:rPr lang="zh-CN" altLang="en-US" smtClean="0"/>
              <a:t>2022/6/25</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Tree>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pic>
        <p:nvPicPr>
          <p:cNvPr id="5" name="图形 4"/>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0"/>
            <a:ext cx="12192000" cy="6858000"/>
          </a:xfrm>
          <a:prstGeom prst="rect">
            <a:avLst/>
          </a:prstGeom>
        </p:spPr>
      </p:pic>
      <p:sp>
        <p:nvSpPr>
          <p:cNvPr id="13" name="标题 12"/>
          <p:cNvSpPr>
            <a:spLocks noGrp="1"/>
          </p:cNvSpPr>
          <p:nvPr userDrawn="1">
            <p:ph type="ctrTitle" hasCustomPrompt="1"/>
          </p:nvPr>
        </p:nvSpPr>
        <p:spPr>
          <a:xfrm>
            <a:off x="1346202" y="3001963"/>
            <a:ext cx="6426198" cy="1621509"/>
          </a:xfrm>
        </p:spPr>
        <p:txBody>
          <a:bodyPr anchor="b">
            <a:normAutofit/>
          </a:bodyPr>
          <a:lstStyle>
            <a:lvl1pPr marL="0" indent="0" algn="l">
              <a:buFont typeface="Arial" panose="020B0604020202020204" pitchFamily="34" charset="0"/>
              <a:buNone/>
              <a:defRPr sz="3200">
                <a:solidFill>
                  <a:schemeClr val="accent1">
                    <a:lumMod val="60000"/>
                    <a:lumOff val="40000"/>
                  </a:schemeClr>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346202" y="5308199"/>
            <a:ext cx="6426198" cy="310871"/>
          </a:xfrm>
        </p:spPr>
        <p:txBody>
          <a:bodyPr vert="horz" lIns="91440" tIns="45720" rIns="91440" bIns="45720" rtlCol="0">
            <a:normAutofit/>
          </a:bodyPr>
          <a:lstStyle>
            <a:lvl1pPr marL="0" indent="0" algn="l">
              <a:buNone/>
              <a:defRPr lang="zh-CN" altLang="en-US" sz="1400" smtClean="0">
                <a:solidFill>
                  <a:schemeClr val="accent1">
                    <a:lumMod val="60000"/>
                    <a:lumOff val="40000"/>
                  </a:schemeClr>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5"/>
          <p:cNvSpPr>
            <a:spLocks noGrp="1"/>
          </p:cNvSpPr>
          <p:nvPr>
            <p:ph type="body" sz="quarter" idx="10" hasCustomPrompt="1"/>
          </p:nvPr>
        </p:nvSpPr>
        <p:spPr>
          <a:xfrm>
            <a:off x="1346204" y="5011928"/>
            <a:ext cx="6426198" cy="296271"/>
          </a:xfrm>
        </p:spPr>
        <p:txBody>
          <a:bodyPr vert="horz" anchor="ctr">
            <a:noAutofit/>
          </a:bodyPr>
          <a:lstStyle>
            <a:lvl1pPr marL="0" indent="0" algn="l">
              <a:buNone/>
              <a:defRPr sz="1400" b="0">
                <a:solidFill>
                  <a:schemeClr val="accent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cxnSp>
        <p:nvCxnSpPr>
          <p:cNvPr id="7" name="直接连接符 6"/>
          <p:cNvCxnSpPr/>
          <p:nvPr userDrawn="1"/>
        </p:nvCxnSpPr>
        <p:spPr>
          <a:xfrm>
            <a:off x="1346202" y="4850767"/>
            <a:ext cx="6426198" cy="0"/>
          </a:xfrm>
          <a:prstGeom prst="line">
            <a:avLst/>
          </a:prstGeom>
          <a:ln>
            <a:solidFill>
              <a:srgbClr val="D1E1EB"/>
            </a:solidFill>
          </a:ln>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pic>
        <p:nvPicPr>
          <p:cNvPr id="6" name="图形 5"/>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0"/>
            <a:ext cx="12192000" cy="6858000"/>
          </a:xfrm>
          <a:prstGeom prst="rect">
            <a:avLst/>
          </a:prstGeom>
        </p:spPr>
      </p:pic>
      <p:sp>
        <p:nvSpPr>
          <p:cNvPr id="9801" name="副标题 9800"/>
          <p:cNvSpPr>
            <a:spLocks noGrp="1"/>
          </p:cNvSpPr>
          <p:nvPr userDrawn="1">
            <p:ph type="subTitle" idx="1"/>
          </p:nvPr>
        </p:nvSpPr>
        <p:spPr>
          <a:xfrm>
            <a:off x="1041399" y="5633743"/>
            <a:ext cx="7175501" cy="558799"/>
          </a:xfrm>
        </p:spPr>
        <p:txBody>
          <a:bodyPr anchor="t">
            <a:normAutofit/>
          </a:bodyPr>
          <a:lstStyle>
            <a:lvl1pPr marL="0" indent="0" algn="l">
              <a:buNone/>
              <a:defRPr sz="1600">
                <a:solidFill>
                  <a:srgbClr val="3F82C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802" name="标题 9801"/>
          <p:cNvSpPr>
            <a:spLocks noGrp="1"/>
          </p:cNvSpPr>
          <p:nvPr userDrawn="1">
            <p:ph type="ctrTitle"/>
          </p:nvPr>
        </p:nvSpPr>
        <p:spPr>
          <a:xfrm>
            <a:off x="1041399" y="3086100"/>
            <a:ext cx="7175501" cy="2237785"/>
          </a:xfrm>
        </p:spPr>
        <p:txBody>
          <a:bodyPr anchor="b">
            <a:normAutofit/>
          </a:bodyPr>
          <a:lstStyle>
            <a:lvl1pPr algn="l">
              <a:defRPr sz="4000">
                <a:solidFill>
                  <a:srgbClr val="3F82C4"/>
                </a:solidFill>
              </a:defRPr>
            </a:lvl1pPr>
          </a:lstStyle>
          <a:p>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8331199" y="3086100"/>
            <a:ext cx="2565401" cy="245363"/>
          </a:xfrm>
        </p:spPr>
        <p:txBody>
          <a:bodyPr vert="horz" anchor="ctr">
            <a:noAutofit/>
          </a:bodyPr>
          <a:lstStyle>
            <a:lvl1pPr marL="0" indent="0" algn="l">
              <a:buNone/>
              <a:defRPr sz="1400" b="0">
                <a:solidFill>
                  <a:schemeClr val="accent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8331199" y="3382371"/>
            <a:ext cx="2565401" cy="245363"/>
          </a:xfrm>
        </p:spPr>
        <p:txBody>
          <a:bodyPr vert="horz" anchor="ctr">
            <a:noAutofit/>
          </a:bodyPr>
          <a:lstStyle>
            <a:lvl1pPr marL="0" indent="0" algn="l">
              <a:buNone/>
              <a:defRPr sz="1400" b="0">
                <a:solidFill>
                  <a:schemeClr val="accent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cxnSp>
        <p:nvCxnSpPr>
          <p:cNvPr id="7" name="直接连接符 6"/>
          <p:cNvCxnSpPr/>
          <p:nvPr userDrawn="1"/>
        </p:nvCxnSpPr>
        <p:spPr>
          <a:xfrm>
            <a:off x="1041399" y="5511167"/>
            <a:ext cx="7175501" cy="0"/>
          </a:xfrm>
          <a:prstGeom prst="line">
            <a:avLst/>
          </a:prstGeom>
          <a:ln>
            <a:solidFill>
              <a:srgbClr val="D1E1EB"/>
            </a:solidFill>
          </a:ln>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2352098" y="2533650"/>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2353214" y="3733086"/>
            <a:ext cx="5419185" cy="1015623"/>
          </a:xfrm>
        </p:spPr>
        <p:txBody>
          <a:bodyPr anchor="t">
            <a:normAutofit/>
          </a:bodyPr>
          <a:lstStyle>
            <a:lvl1pPr marL="0" indent="0" algn="l">
              <a:lnSpc>
                <a:spcPct val="150000"/>
              </a:lnSpc>
              <a:spcBef>
                <a:spcPts val="0"/>
              </a:spcBef>
              <a:buNone/>
              <a:defRPr sz="11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pic>
        <p:nvPicPr>
          <p:cNvPr id="4" name="图形 3"/>
          <p:cNvPicPr>
            <a:picLocks noChangeAspect="1"/>
          </p:cNvPicPr>
          <p:nvPr userDrawn="1"/>
        </p:nvPicPr>
        <p:blipFill rotWithShape="1">
          <a:blip r:embed="rId2">
            <a:extLst>
              <a:ext uri="{96DAC541-7B7A-43D3-8B79-37D633B846F1}">
                <asvg:svgBlip xmlns:asvg="http://schemas.microsoft.com/office/drawing/2016/SVG/main" r:embed="rId3"/>
              </a:ext>
            </a:extLst>
          </a:blip>
          <a:srcRect l="469" r="65582"/>
          <a:stretch>
            <a:fillRect/>
          </a:stretch>
        </p:blipFill>
        <p:spPr>
          <a:xfrm flipH="1" flipV="1">
            <a:off x="8013701" y="0"/>
            <a:ext cx="4178299" cy="6858000"/>
          </a:xfrm>
          <a:prstGeom prst="rect">
            <a:avLst/>
          </a:prstGeom>
        </p:spPr>
      </p:pic>
      <p:cxnSp>
        <p:nvCxnSpPr>
          <p:cNvPr id="5" name="直接连接符 4"/>
          <p:cNvCxnSpPr/>
          <p:nvPr userDrawn="1"/>
        </p:nvCxnSpPr>
        <p:spPr>
          <a:xfrm>
            <a:off x="2352098" y="3590746"/>
            <a:ext cx="7175501" cy="0"/>
          </a:xfrm>
          <a:prstGeom prst="line">
            <a:avLst/>
          </a:prstGeom>
          <a:ln>
            <a:solidFill>
              <a:srgbClr val="D1E1EB"/>
            </a:solidFill>
          </a:ln>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2/6/25</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日期占位符 2"/>
          <p:cNvSpPr>
            <a:spLocks noGrp="1"/>
          </p:cNvSpPr>
          <p:nvPr>
            <p:ph type="dt" sz="half" idx="10"/>
          </p:nvPr>
        </p:nvSpPr>
        <p:spPr/>
        <p:txBody>
          <a:bodyPr/>
          <a:lstStyle/>
          <a:p>
            <a:fld id="{6489D9C7-5DC6-4263-87FF-7C99F6FB63C3}" type="datetime1">
              <a:rPr lang="zh-CN" altLang="en-US" smtClean="0"/>
              <a:t>2022/6/25</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Tree>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2/6/25</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pic>
        <p:nvPicPr>
          <p:cNvPr id="5" name="图形 4"/>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0"/>
            <a:ext cx="12192000" cy="6858000"/>
          </a:xfrm>
          <a:prstGeom prst="rect">
            <a:avLst/>
          </a:prstGeom>
        </p:spPr>
      </p:pic>
      <p:sp>
        <p:nvSpPr>
          <p:cNvPr id="13" name="标题 12"/>
          <p:cNvSpPr>
            <a:spLocks noGrp="1"/>
          </p:cNvSpPr>
          <p:nvPr userDrawn="1">
            <p:ph type="ctrTitle" hasCustomPrompt="1"/>
          </p:nvPr>
        </p:nvSpPr>
        <p:spPr>
          <a:xfrm>
            <a:off x="1346202" y="3001963"/>
            <a:ext cx="6426198" cy="1621509"/>
          </a:xfrm>
        </p:spPr>
        <p:txBody>
          <a:bodyPr anchor="b">
            <a:normAutofit/>
          </a:bodyPr>
          <a:lstStyle>
            <a:lvl1pPr marL="0" indent="0" algn="l">
              <a:buFont typeface="Arial" panose="020B0604020202020204" pitchFamily="34" charset="0"/>
              <a:buNone/>
              <a:defRPr sz="3200">
                <a:solidFill>
                  <a:schemeClr val="accent1">
                    <a:lumMod val="60000"/>
                    <a:lumOff val="40000"/>
                  </a:schemeClr>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346202" y="5308199"/>
            <a:ext cx="6426198" cy="310871"/>
          </a:xfrm>
        </p:spPr>
        <p:txBody>
          <a:bodyPr vert="horz" lIns="91440" tIns="45720" rIns="91440" bIns="45720" rtlCol="0">
            <a:normAutofit/>
          </a:bodyPr>
          <a:lstStyle>
            <a:lvl1pPr marL="0" indent="0" algn="l">
              <a:buNone/>
              <a:defRPr lang="zh-CN" altLang="en-US" sz="1400" smtClean="0">
                <a:solidFill>
                  <a:schemeClr val="accent1">
                    <a:lumMod val="60000"/>
                    <a:lumOff val="40000"/>
                  </a:schemeClr>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5"/>
          <p:cNvSpPr>
            <a:spLocks noGrp="1"/>
          </p:cNvSpPr>
          <p:nvPr>
            <p:ph type="body" sz="quarter" idx="10" hasCustomPrompt="1"/>
          </p:nvPr>
        </p:nvSpPr>
        <p:spPr>
          <a:xfrm>
            <a:off x="1346204" y="5011928"/>
            <a:ext cx="6426198" cy="296271"/>
          </a:xfrm>
        </p:spPr>
        <p:txBody>
          <a:bodyPr vert="horz" anchor="ctr">
            <a:noAutofit/>
          </a:bodyPr>
          <a:lstStyle>
            <a:lvl1pPr marL="0" indent="0" algn="l">
              <a:buNone/>
              <a:defRPr sz="1400" b="0">
                <a:solidFill>
                  <a:schemeClr val="accent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cxnSp>
        <p:nvCxnSpPr>
          <p:cNvPr id="7" name="直接连接符 6"/>
          <p:cNvCxnSpPr/>
          <p:nvPr userDrawn="1"/>
        </p:nvCxnSpPr>
        <p:spPr>
          <a:xfrm>
            <a:off x="1346202" y="4850767"/>
            <a:ext cx="6426198" cy="0"/>
          </a:xfrm>
          <a:prstGeom prst="line">
            <a:avLst/>
          </a:prstGeom>
          <a:ln>
            <a:solidFill>
              <a:srgbClr val="D1E1EB"/>
            </a:solidFill>
          </a:ln>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日期占位符 2"/>
          <p:cNvSpPr>
            <a:spLocks noGrp="1"/>
          </p:cNvSpPr>
          <p:nvPr>
            <p:ph type="dt" sz="half" idx="10"/>
          </p:nvPr>
        </p:nvSpPr>
        <p:spPr/>
        <p:txBody>
          <a:bodyPr/>
          <a:lstStyle/>
          <a:p>
            <a:fld id="{6489D9C7-5DC6-4263-87FF-7C99F6FB63C3}" type="datetime1">
              <a:rPr lang="zh-CN" altLang="en-US" smtClean="0"/>
              <a:t>2022/6/25</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Tree>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pic>
        <p:nvPicPr>
          <p:cNvPr id="5" name="图形 4"/>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0"/>
            <a:ext cx="12192000" cy="6858000"/>
          </a:xfrm>
          <a:prstGeom prst="rect">
            <a:avLst/>
          </a:prstGeom>
        </p:spPr>
      </p:pic>
      <p:sp>
        <p:nvSpPr>
          <p:cNvPr id="13" name="标题 12"/>
          <p:cNvSpPr>
            <a:spLocks noGrp="1"/>
          </p:cNvSpPr>
          <p:nvPr userDrawn="1">
            <p:ph type="ctrTitle" hasCustomPrompt="1"/>
          </p:nvPr>
        </p:nvSpPr>
        <p:spPr>
          <a:xfrm>
            <a:off x="1346202" y="3001963"/>
            <a:ext cx="6426198" cy="1621509"/>
          </a:xfrm>
        </p:spPr>
        <p:txBody>
          <a:bodyPr anchor="b">
            <a:normAutofit/>
          </a:bodyPr>
          <a:lstStyle>
            <a:lvl1pPr marL="0" indent="0" algn="l">
              <a:buFont typeface="Arial" panose="020B0604020202020204" pitchFamily="34" charset="0"/>
              <a:buNone/>
              <a:defRPr sz="3200">
                <a:solidFill>
                  <a:schemeClr val="accent1">
                    <a:lumMod val="60000"/>
                    <a:lumOff val="40000"/>
                  </a:schemeClr>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346202" y="5308199"/>
            <a:ext cx="6426198" cy="310871"/>
          </a:xfrm>
        </p:spPr>
        <p:txBody>
          <a:bodyPr vert="horz" lIns="91440" tIns="45720" rIns="91440" bIns="45720" rtlCol="0">
            <a:normAutofit/>
          </a:bodyPr>
          <a:lstStyle>
            <a:lvl1pPr marL="0" indent="0" algn="l">
              <a:buNone/>
              <a:defRPr lang="zh-CN" altLang="en-US" sz="1400" smtClean="0">
                <a:solidFill>
                  <a:schemeClr val="accent1">
                    <a:lumMod val="60000"/>
                    <a:lumOff val="40000"/>
                  </a:schemeClr>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5"/>
          <p:cNvSpPr>
            <a:spLocks noGrp="1"/>
          </p:cNvSpPr>
          <p:nvPr>
            <p:ph type="body" sz="quarter" idx="10" hasCustomPrompt="1"/>
          </p:nvPr>
        </p:nvSpPr>
        <p:spPr>
          <a:xfrm>
            <a:off x="1346204" y="5011928"/>
            <a:ext cx="6426198" cy="296271"/>
          </a:xfrm>
        </p:spPr>
        <p:txBody>
          <a:bodyPr vert="horz" anchor="ctr">
            <a:noAutofit/>
          </a:bodyPr>
          <a:lstStyle>
            <a:lvl1pPr marL="0" indent="0" algn="l">
              <a:buNone/>
              <a:defRPr sz="1400" b="0">
                <a:solidFill>
                  <a:schemeClr val="accent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cxnSp>
        <p:nvCxnSpPr>
          <p:cNvPr id="7" name="直接连接符 6"/>
          <p:cNvCxnSpPr/>
          <p:nvPr userDrawn="1"/>
        </p:nvCxnSpPr>
        <p:spPr>
          <a:xfrm>
            <a:off x="1346202" y="4850767"/>
            <a:ext cx="6426198" cy="0"/>
          </a:xfrm>
          <a:prstGeom prst="line">
            <a:avLst/>
          </a:prstGeom>
          <a:ln>
            <a:solidFill>
              <a:srgbClr val="D1E1EB"/>
            </a:solidFill>
          </a:ln>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pic>
        <p:nvPicPr>
          <p:cNvPr id="6" name="图形 5"/>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0"/>
            <a:ext cx="12192000" cy="6858000"/>
          </a:xfrm>
          <a:prstGeom prst="rect">
            <a:avLst/>
          </a:prstGeom>
        </p:spPr>
      </p:pic>
      <p:sp>
        <p:nvSpPr>
          <p:cNvPr id="9801" name="副标题 9800"/>
          <p:cNvSpPr>
            <a:spLocks noGrp="1"/>
          </p:cNvSpPr>
          <p:nvPr userDrawn="1">
            <p:ph type="subTitle" idx="1"/>
          </p:nvPr>
        </p:nvSpPr>
        <p:spPr>
          <a:xfrm>
            <a:off x="1041399" y="5633743"/>
            <a:ext cx="7175501" cy="558799"/>
          </a:xfrm>
        </p:spPr>
        <p:txBody>
          <a:bodyPr anchor="t">
            <a:normAutofit/>
          </a:bodyPr>
          <a:lstStyle>
            <a:lvl1pPr marL="0" indent="0" algn="l">
              <a:buNone/>
              <a:defRPr sz="1600">
                <a:solidFill>
                  <a:srgbClr val="3F82C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802" name="标题 9801"/>
          <p:cNvSpPr>
            <a:spLocks noGrp="1"/>
          </p:cNvSpPr>
          <p:nvPr userDrawn="1">
            <p:ph type="ctrTitle"/>
          </p:nvPr>
        </p:nvSpPr>
        <p:spPr>
          <a:xfrm>
            <a:off x="1041399" y="3086100"/>
            <a:ext cx="7175501" cy="2237785"/>
          </a:xfrm>
        </p:spPr>
        <p:txBody>
          <a:bodyPr anchor="b">
            <a:normAutofit/>
          </a:bodyPr>
          <a:lstStyle>
            <a:lvl1pPr algn="l">
              <a:defRPr sz="4000">
                <a:solidFill>
                  <a:srgbClr val="3F82C4"/>
                </a:solidFill>
              </a:defRPr>
            </a:lvl1pPr>
          </a:lstStyle>
          <a:p>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8331199" y="3086100"/>
            <a:ext cx="2565401" cy="245363"/>
          </a:xfrm>
        </p:spPr>
        <p:txBody>
          <a:bodyPr vert="horz" anchor="ctr">
            <a:noAutofit/>
          </a:bodyPr>
          <a:lstStyle>
            <a:lvl1pPr marL="0" indent="0" algn="l">
              <a:buNone/>
              <a:defRPr sz="1400" b="0">
                <a:solidFill>
                  <a:schemeClr val="accent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8331199" y="3382371"/>
            <a:ext cx="2565401" cy="245363"/>
          </a:xfrm>
        </p:spPr>
        <p:txBody>
          <a:bodyPr vert="horz" anchor="ctr">
            <a:noAutofit/>
          </a:bodyPr>
          <a:lstStyle>
            <a:lvl1pPr marL="0" indent="0" algn="l">
              <a:buNone/>
              <a:defRPr sz="1400" b="0">
                <a:solidFill>
                  <a:schemeClr val="accent1">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cxnSp>
        <p:nvCxnSpPr>
          <p:cNvPr id="7" name="直接连接符 6"/>
          <p:cNvCxnSpPr/>
          <p:nvPr userDrawn="1"/>
        </p:nvCxnSpPr>
        <p:spPr>
          <a:xfrm>
            <a:off x="1041399" y="5511167"/>
            <a:ext cx="7175501" cy="0"/>
          </a:xfrm>
          <a:prstGeom prst="line">
            <a:avLst/>
          </a:prstGeom>
          <a:ln>
            <a:solidFill>
              <a:srgbClr val="D1E1EB"/>
            </a:solidFill>
          </a:ln>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2352098" y="2533650"/>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2353214" y="3733086"/>
            <a:ext cx="5419185" cy="1015623"/>
          </a:xfrm>
        </p:spPr>
        <p:txBody>
          <a:bodyPr anchor="t">
            <a:normAutofit/>
          </a:bodyPr>
          <a:lstStyle>
            <a:lvl1pPr marL="0" indent="0" algn="l">
              <a:lnSpc>
                <a:spcPct val="150000"/>
              </a:lnSpc>
              <a:spcBef>
                <a:spcPts val="0"/>
              </a:spcBef>
              <a:buNone/>
              <a:defRPr sz="11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pic>
        <p:nvPicPr>
          <p:cNvPr id="4" name="图形 3"/>
          <p:cNvPicPr>
            <a:picLocks noChangeAspect="1"/>
          </p:cNvPicPr>
          <p:nvPr userDrawn="1"/>
        </p:nvPicPr>
        <p:blipFill rotWithShape="1">
          <a:blip r:embed="rId2">
            <a:extLst>
              <a:ext uri="{96DAC541-7B7A-43D3-8B79-37D633B846F1}">
                <asvg:svgBlip xmlns:asvg="http://schemas.microsoft.com/office/drawing/2016/SVG/main" r:embed="rId3"/>
              </a:ext>
            </a:extLst>
          </a:blip>
          <a:srcRect l="469" r="65582"/>
          <a:stretch>
            <a:fillRect/>
          </a:stretch>
        </p:blipFill>
        <p:spPr>
          <a:xfrm flipH="1" flipV="1">
            <a:off x="8013701" y="0"/>
            <a:ext cx="4178299" cy="6858000"/>
          </a:xfrm>
          <a:prstGeom prst="rect">
            <a:avLst/>
          </a:prstGeom>
        </p:spPr>
      </p:pic>
      <p:cxnSp>
        <p:nvCxnSpPr>
          <p:cNvPr id="5" name="直接连接符 4"/>
          <p:cNvCxnSpPr/>
          <p:nvPr userDrawn="1"/>
        </p:nvCxnSpPr>
        <p:spPr>
          <a:xfrm>
            <a:off x="2352098" y="3590746"/>
            <a:ext cx="7175501" cy="0"/>
          </a:xfrm>
          <a:prstGeom prst="line">
            <a:avLst/>
          </a:prstGeom>
          <a:ln>
            <a:solidFill>
              <a:srgbClr val="D1E1EB"/>
            </a:solidFill>
          </a:ln>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2/6/25</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theme" Target="../theme/theme4.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4" Type="http://schemas.openxmlformats.org/officeDocument/2006/relationships/slideLayout" Target="../slideLayouts/slideLayout22.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openxmlformats.org/officeDocument/2006/relationships/theme" Target="../theme/theme5.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5" Type="http://schemas.openxmlformats.org/officeDocument/2006/relationships/slideLayout" Target="../slideLayouts/slideLayout29.xml"/><Relationship Id="rId4"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2/6/25</a:t>
            </a:fld>
            <a:endParaRPr lang="zh-CN" altLang="en-US"/>
          </a:p>
        </p:txBody>
      </p:sp>
      <p:sp>
        <p:nvSpPr>
          <p:cNvPr id="9" name="页脚占位符 8"/>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9"/>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2/6/25</a:t>
            </a:fld>
            <a:endParaRPr lang="zh-CN" altLang="en-US"/>
          </a:p>
        </p:txBody>
      </p:sp>
      <p:sp>
        <p:nvSpPr>
          <p:cNvPr id="9" name="页脚占位符 8"/>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9"/>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 id="2147483661" r:id="rId6"/>
  </p:sldLayoutIdLst>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2/6/25</a:t>
            </a:fld>
            <a:endParaRPr lang="zh-CN" altLang="en-US"/>
          </a:p>
        </p:txBody>
      </p:sp>
      <p:sp>
        <p:nvSpPr>
          <p:cNvPr id="9" name="页脚占位符 8"/>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9"/>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Lst>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2/6/25</a:t>
            </a:fld>
            <a:endParaRPr lang="zh-CN" altLang="en-US"/>
          </a:p>
        </p:txBody>
      </p:sp>
      <p:sp>
        <p:nvSpPr>
          <p:cNvPr id="9" name="页脚占位符 8"/>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9"/>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Lst>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2/6/25</a:t>
            </a:fld>
            <a:endParaRPr lang="zh-CN" altLang="en-US"/>
          </a:p>
        </p:txBody>
      </p:sp>
      <p:sp>
        <p:nvSpPr>
          <p:cNvPr id="9" name="页脚占位符 8"/>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9"/>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Lst>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5" Type="http://schemas.openxmlformats.org/officeDocument/2006/relationships/tags" Target="../tags/tag63.xml"/><Relationship Id="rId4" Type="http://schemas.openxmlformats.org/officeDocument/2006/relationships/tags" Target="../tags/tag62.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5" Type="http://schemas.openxmlformats.org/officeDocument/2006/relationships/tags" Target="../tags/tag70.xml"/><Relationship Id="rId4" Type="http://schemas.openxmlformats.org/officeDocument/2006/relationships/tags" Target="../tags/tag69.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3.xml"/><Relationship Id="rId1" Type="http://schemas.openxmlformats.org/officeDocument/2006/relationships/themeOverride" Target="../theme/themeOverride5.xml"/></Relationships>
</file>

<file path=ppt/slides/_rels/slide13.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slideLayout" Target="../slideLayouts/slideLayout4.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5" Type="http://schemas.openxmlformats.org/officeDocument/2006/relationships/tags" Target="../tags/tag78.xml"/><Relationship Id="rId4" Type="http://schemas.openxmlformats.org/officeDocument/2006/relationships/tags" Target="../tags/tag77.xml"/></Relationships>
</file>

<file path=ppt/slides/_rels/slide14.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slideLayout" Target="../slideLayouts/slideLayout4.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tags" Target="../tags/tag85.xml"/><Relationship Id="rId5" Type="http://schemas.openxmlformats.org/officeDocument/2006/relationships/tags" Target="../tags/tag84.xml"/><Relationship Id="rId4" Type="http://schemas.openxmlformats.org/officeDocument/2006/relationships/tags" Target="../tags/tag83.xml"/></Relationships>
</file>

<file path=ppt/slides/_rels/slide15.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slideLayout" Target="../slideLayouts/slideLayout4.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tags" Target="../tags/tag91.xml"/><Relationship Id="rId5" Type="http://schemas.openxmlformats.org/officeDocument/2006/relationships/tags" Target="../tags/tag90.xml"/><Relationship Id="rId4" Type="http://schemas.openxmlformats.org/officeDocument/2006/relationships/tags" Target="../tags/tag89.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92.xml"/><Relationship Id="rId1" Type="http://schemas.openxmlformats.org/officeDocument/2006/relationships/themeOverride" Target="../theme/themeOverride6.xml"/></Relationships>
</file>

<file path=ppt/slides/_rels/slide17.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slideLayout" Target="../slideLayouts/slideLayout4.xml"/><Relationship Id="rId5" Type="http://schemas.openxmlformats.org/officeDocument/2006/relationships/tags" Target="../tags/tag97.xml"/><Relationship Id="rId4" Type="http://schemas.openxmlformats.org/officeDocument/2006/relationships/tags" Target="../tags/tag96.xml"/></Relationships>
</file>

<file path=ppt/slides/_rels/slide1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00.xml"/><Relationship Id="rId7" Type="http://schemas.openxmlformats.org/officeDocument/2006/relationships/image" Target="../media/image4.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slideLayout" Target="../slideLayouts/slideLayout4.xml"/><Relationship Id="rId5" Type="http://schemas.openxmlformats.org/officeDocument/2006/relationships/tags" Target="../tags/tag102.xml"/><Relationship Id="rId4" Type="http://schemas.openxmlformats.org/officeDocument/2006/relationships/tags" Target="../tags/tag101.xml"/></Relationships>
</file>

<file path=ppt/slides/_rels/slide19.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themeOverride" Target="../theme/themeOverride7.xml"/><Relationship Id="rId5" Type="http://schemas.openxmlformats.org/officeDocument/2006/relationships/image" Target="../media/image6.png"/><Relationship Id="rId4"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Layout" Target="../slideLayouts/slideLayout5.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1" Type="http://schemas.openxmlformats.org/officeDocument/2006/relationships/themeOverride" Target="../theme/themeOverride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07.xml"/><Relationship Id="rId7" Type="http://schemas.openxmlformats.org/officeDocument/2006/relationships/slideLayout" Target="../slideLayouts/slideLayout4.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tags" Target="../tags/tag110.xml"/><Relationship Id="rId5" Type="http://schemas.openxmlformats.org/officeDocument/2006/relationships/tags" Target="../tags/tag109.xml"/><Relationship Id="rId4" Type="http://schemas.openxmlformats.org/officeDocument/2006/relationships/tags" Target="../tags/tag108.xml"/></Relationships>
</file>

<file path=ppt/slides/_rels/slide2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12.xml"/><Relationship Id="rId7" Type="http://schemas.openxmlformats.org/officeDocument/2006/relationships/slideLayout" Target="../slideLayouts/slideLayout4.xml"/><Relationship Id="rId2" Type="http://schemas.openxmlformats.org/officeDocument/2006/relationships/tags" Target="../tags/tag111.xml"/><Relationship Id="rId1" Type="http://schemas.openxmlformats.org/officeDocument/2006/relationships/themeOverride" Target="../theme/themeOverride8.xml"/><Relationship Id="rId6" Type="http://schemas.openxmlformats.org/officeDocument/2006/relationships/tags" Target="../tags/tag115.xml"/><Relationship Id="rId5" Type="http://schemas.openxmlformats.org/officeDocument/2006/relationships/tags" Target="../tags/tag114.xml"/><Relationship Id="rId4" Type="http://schemas.openxmlformats.org/officeDocument/2006/relationships/tags" Target="../tags/tag113.xml"/></Relationships>
</file>

<file path=ppt/slides/_rels/slide22.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tags" Target="../tags/tag116.xml"/><Relationship Id="rId5" Type="http://schemas.openxmlformats.org/officeDocument/2006/relationships/image" Target="../media/image9.png"/><Relationship Id="rId4"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slideLayout" Target="../slideLayouts/slideLayout4.xml"/><Relationship Id="rId1" Type="http://schemas.openxmlformats.org/officeDocument/2006/relationships/tags" Target="../tags/tag119.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24.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image" Target="../media/image16.png"/><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15.png"/><Relationship Id="rId5" Type="http://schemas.openxmlformats.org/officeDocument/2006/relationships/slideLayout" Target="../slideLayouts/slideLayout4.xml"/><Relationship Id="rId4" Type="http://schemas.openxmlformats.org/officeDocument/2006/relationships/tags" Target="../tags/tag123.xml"/></Relationships>
</file>

<file path=ppt/slides/_rels/slide25.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image" Target="../media/image19.png"/><Relationship Id="rId5" Type="http://schemas.openxmlformats.org/officeDocument/2006/relationships/slideLayout" Target="../slideLayouts/slideLayout4.xml"/><Relationship Id="rId4" Type="http://schemas.openxmlformats.org/officeDocument/2006/relationships/tags" Target="../tags/tag130.xml"/></Relationships>
</file>

<file path=ppt/slides/_rels/slide27.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vmlDrawing" Target="../drawings/vmlDrawing2.vml"/><Relationship Id="rId1" Type="http://schemas.openxmlformats.org/officeDocument/2006/relationships/themeOverride" Target="../theme/themeOverride9.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34.xml"/><Relationship Id="rId7" Type="http://schemas.openxmlformats.org/officeDocument/2006/relationships/slideLayout" Target="../slideLayouts/slideLayout4.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tags" Target="../tags/tag137.xml"/><Relationship Id="rId5" Type="http://schemas.openxmlformats.org/officeDocument/2006/relationships/tags" Target="../tags/tag136.xml"/><Relationship Id="rId4" Type="http://schemas.openxmlformats.org/officeDocument/2006/relationships/tags" Target="../tags/tag135.xml"/><Relationship Id="rId9" Type="http://schemas.openxmlformats.org/officeDocument/2006/relationships/image" Target="../media/image21.png"/></Relationships>
</file>

<file path=ppt/slides/_rels/slide29.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140.xml"/><Relationship Id="rId7" Type="http://schemas.openxmlformats.org/officeDocument/2006/relationships/tags" Target="../tags/tag144.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tags" Target="../tags/tag143.xml"/><Relationship Id="rId5" Type="http://schemas.openxmlformats.org/officeDocument/2006/relationships/tags" Target="../tags/tag142.xml"/><Relationship Id="rId4" Type="http://schemas.openxmlformats.org/officeDocument/2006/relationships/tags" Target="../tags/tag14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themeOverride" Target="../theme/themeOverride3.xml"/></Relationships>
</file>

<file path=ppt/slides/_rels/slide30.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tags" Target="../tags/tag145.xml"/><Relationship Id="rId5" Type="http://schemas.openxmlformats.org/officeDocument/2006/relationships/image" Target="../media/image22.png"/><Relationship Id="rId4"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tags" Target="../tags/tag150.xml"/><Relationship Id="rId7" Type="http://schemas.openxmlformats.org/officeDocument/2006/relationships/slideLayout" Target="../slideLayouts/slideLayout4.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tags" Target="../tags/tag153.xml"/><Relationship Id="rId5" Type="http://schemas.openxmlformats.org/officeDocument/2006/relationships/tags" Target="../tags/tag152.xml"/><Relationship Id="rId4" Type="http://schemas.openxmlformats.org/officeDocument/2006/relationships/tags" Target="../tags/tag151.xml"/></Relationships>
</file>

<file path=ppt/slides/_rels/slide32.xml.rels><?xml version="1.0" encoding="UTF-8" standalone="yes"?>
<Relationships xmlns="http://schemas.openxmlformats.org/package/2006/relationships"><Relationship Id="rId3" Type="http://schemas.openxmlformats.org/officeDocument/2006/relationships/tags" Target="../tags/tag154.xml"/><Relationship Id="rId2" Type="http://schemas.openxmlformats.org/officeDocument/2006/relationships/vmlDrawing" Target="../drawings/vmlDrawing3.vml"/><Relationship Id="rId1" Type="http://schemas.openxmlformats.org/officeDocument/2006/relationships/themeOverride" Target="../theme/themeOverride10.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3" Type="http://schemas.openxmlformats.org/officeDocument/2006/relationships/tags" Target="../tags/tag157.xml"/><Relationship Id="rId7" Type="http://schemas.openxmlformats.org/officeDocument/2006/relationships/image" Target="../media/image24.png"/><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image" Target="../media/image23.png"/><Relationship Id="rId5" Type="http://schemas.openxmlformats.org/officeDocument/2006/relationships/slideLayout" Target="../slideLayouts/slideLayout4.xml"/><Relationship Id="rId4" Type="http://schemas.openxmlformats.org/officeDocument/2006/relationships/tags" Target="../tags/tag158.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59.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slideLayout" Target="../slideLayouts/slideLayout4.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s>
</file>

<file path=ppt/slides/_rels/slide5.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10" Type="http://schemas.openxmlformats.org/officeDocument/2006/relationships/slideLayout" Target="../slideLayouts/slideLayout4.xml"/><Relationship Id="rId4" Type="http://schemas.openxmlformats.org/officeDocument/2006/relationships/tags" Target="../tags/tag29.xml"/><Relationship Id="rId9" Type="http://schemas.openxmlformats.org/officeDocument/2006/relationships/tags" Target="../tags/tag3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5.xml"/><Relationship Id="rId1" Type="http://schemas.openxmlformats.org/officeDocument/2006/relationships/themeOverride" Target="../theme/themeOverride4.xml"/></Relationships>
</file>

<file path=ppt/slides/_rels/slide7.xml.rels><?xml version="1.0" encoding="UTF-8" standalone="yes"?>
<Relationships xmlns="http://schemas.openxmlformats.org/package/2006/relationships"><Relationship Id="rId8" Type="http://schemas.openxmlformats.org/officeDocument/2006/relationships/tags" Target="../tags/tag43.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 Id="rId9"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tags" Target="../tags/tag51.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5" Type="http://schemas.openxmlformats.org/officeDocument/2006/relationships/tags" Target="../tags/tag48.xml"/><Relationship Id="rId4" Type="http://schemas.openxmlformats.org/officeDocument/2006/relationships/tags" Target="../tags/tag47.xml"/><Relationship Id="rId9"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5" Type="http://schemas.openxmlformats.org/officeDocument/2006/relationships/tags" Target="../tags/tag56.xml"/><Relationship Id="rId4" Type="http://schemas.openxmlformats.org/officeDocument/2006/relationships/tags" Target="../tags/tag5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íŝľiḋè"/>
        <p:cNvGrpSpPr/>
        <p:nvPr/>
      </p:nvGrpSpPr>
      <p:grpSpPr>
        <a:xfrm>
          <a:off x="0" y="0"/>
          <a:ext cx="0" cy="0"/>
          <a:chOff x="0" y="0"/>
          <a:chExt cx="0" cy="0"/>
        </a:xfrm>
      </p:grpSpPr>
      <p:graphicFrame>
        <p:nvGraphicFramePr>
          <p:cNvPr id="3" name="íṡļiḑè"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 name="think-cell Slide" r:id="rId5" imgW="9525" imgH="9525" progId="TCLayout.ActiveDocument.1">
                  <p:embed/>
                </p:oleObj>
              </mc:Choice>
              <mc:Fallback>
                <p:oleObj name="think-cell Slide" r:id="rId5" imgW="9525" imgH="9525" progId="TCLayout.ActiveDocument.1">
                  <p:embed/>
                  <p:pic>
                    <p:nvPicPr>
                      <p:cNvPr id="0" name="îšľïdé"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ïśḻîḋê"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íś1ïḋe"/>
          <p:cNvSpPr>
            <a:spLocks noGrp="1"/>
          </p:cNvSpPr>
          <p:nvPr>
            <p:ph type="subTitle" idx="1"/>
          </p:nvPr>
        </p:nvSpPr>
        <p:spPr>
          <a:xfrm>
            <a:off x="929104" y="5633743"/>
            <a:ext cx="7958222" cy="558799"/>
          </a:xfrm>
        </p:spPr>
        <p:txBody>
          <a:bodyPr/>
          <a:lstStyle/>
          <a:p>
            <a:pPr lvl="0">
              <a:defRPr/>
            </a:pPr>
            <a:r>
              <a:rPr lang="en-US" altLang="zh-CN" spc="600">
                <a:solidFill>
                  <a:srgbClr val="D1E1EB"/>
                </a:solidFill>
              </a:rPr>
              <a:t>REPORT OF SOFTWARE ENGINEERING PROJECT</a:t>
            </a:r>
            <a:endParaRPr lang="en-US" altLang="zh-CN" spc="600" dirty="0">
              <a:solidFill>
                <a:srgbClr val="D1E1EB"/>
              </a:solidFill>
            </a:endParaRPr>
          </a:p>
        </p:txBody>
      </p:sp>
      <p:sp>
        <p:nvSpPr>
          <p:cNvPr id="6" name="iŝliďé"/>
          <p:cNvSpPr>
            <a:spLocks noGrp="1"/>
          </p:cNvSpPr>
          <p:nvPr>
            <p:ph type="ctrTitle"/>
          </p:nvPr>
        </p:nvSpPr>
        <p:spPr/>
        <p:txBody>
          <a:bodyPr>
            <a:normAutofit/>
          </a:bodyPr>
          <a:lstStyle/>
          <a:p>
            <a:pPr lvl="0">
              <a:defRPr/>
            </a:pPr>
            <a:r>
              <a:rPr lang="en-US" altLang="zh-CN" sz="4400" b="0">
                <a:solidFill>
                  <a:srgbClr val="3F82C4"/>
                </a:solidFill>
                <a:latin typeface="Roboto" panose="02000000000000000000" pitchFamily="2" charset="0"/>
                <a:ea typeface="Roboto" panose="02000000000000000000" pitchFamily="2" charset="0"/>
                <a:cs typeface="Roboto" panose="02000000000000000000" pitchFamily="2" charset="0"/>
              </a:rPr>
              <a:t>B</a:t>
            </a:r>
            <a:r>
              <a:rPr lang="zh-CN" altLang="en-US" sz="4400" b="0">
                <a:solidFill>
                  <a:srgbClr val="3F82C4"/>
                </a:solidFill>
                <a:latin typeface="Roboto" panose="02000000000000000000" pitchFamily="2" charset="0"/>
                <a:ea typeface="Roboto" panose="02000000000000000000" pitchFamily="2" charset="0"/>
                <a:cs typeface="Roboto" panose="02000000000000000000" pitchFamily="2" charset="0"/>
              </a:rPr>
              <a:t>组软件工程综合实验汇报</a:t>
            </a:r>
            <a:endParaRPr lang="zh-CN" altLang="en-US" sz="4400" b="0" dirty="0">
              <a:solidFill>
                <a:schemeClr val="tx1"/>
              </a:solidFill>
              <a:latin typeface="Roboto" panose="02000000000000000000" pitchFamily="2" charset="0"/>
              <a:cs typeface="Roboto" panose="02000000000000000000" pitchFamily="2" charset="0"/>
            </a:endParaRPr>
          </a:p>
        </p:txBody>
      </p:sp>
    </p:spTree>
    <p:custDataLst>
      <p:tags r:id="rId3"/>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ïŝlíḑè"/>
        <p:cNvGrpSpPr/>
        <p:nvPr/>
      </p:nvGrpSpPr>
      <p:grpSpPr>
        <a:xfrm>
          <a:off x="0" y="0"/>
          <a:ext cx="0" cy="0"/>
          <a:chOff x="0" y="0"/>
          <a:chExt cx="0" cy="0"/>
        </a:xfrm>
      </p:grpSpPr>
      <p:sp>
        <p:nvSpPr>
          <p:cNvPr id="11" name="矩形 9"/>
          <p:cNvSpPr/>
          <p:nvPr userDrawn="1">
            <p:custDataLst>
              <p:tags r:id="rId2"/>
            </p:custDataLst>
          </p:nvPr>
        </p:nvSpPr>
        <p:spPr>
          <a:xfrm>
            <a:off x="0" y="0"/>
            <a:ext cx="12192000" cy="912114"/>
          </a:xfrm>
          <a:prstGeom prst="rect">
            <a:avLst/>
          </a:prstGeom>
          <a:solidFill>
            <a:schemeClr val="dk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a:solidFill>
                <a:schemeClr val="lt1"/>
              </a:solidFill>
              <a:latin typeface="微软雅黑" panose="020B0503020204020204" pitchFamily="34" charset="-122"/>
              <a:ea typeface="微软雅黑" panose="020B0503020204020204" pitchFamily="34" charset="-122"/>
              <a:sym typeface="+mn-ea"/>
            </a:endParaRPr>
          </a:p>
        </p:txBody>
      </p:sp>
      <p:sp>
        <p:nvSpPr>
          <p:cNvPr id="12" name="矩形 13"/>
          <p:cNvSpPr/>
          <p:nvPr>
            <p:custDataLst>
              <p:tags r:id="rId3"/>
            </p:custDataLst>
          </p:nvPr>
        </p:nvSpPr>
        <p:spPr>
          <a:xfrm>
            <a:off x="2438398" y="1369440"/>
            <a:ext cx="7315215" cy="5031244"/>
          </a:xfrm>
          <a:prstGeom prst="rect">
            <a:avLst/>
          </a:prstGeom>
          <a:solidFill>
            <a:schemeClr val="lt2"/>
          </a:solidFill>
          <a:ln>
            <a:noFill/>
          </a:ln>
          <a:effectLst>
            <a:outerShdw blurRad="254000" dir="5400000" algn="ctr" rotWithShape="0">
              <a:schemeClr val="lt2">
                <a:lumMod val="75000"/>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rmAutofit/>
          </a:bodyPr>
          <a:lstStyle/>
          <a:p>
            <a:pPr lvl="0" algn="ctr">
              <a:buClrTx/>
              <a:buSzTx/>
              <a:buFontTx/>
            </a:pPr>
            <a:endParaRPr lang="zh-CN" altLang="en-US">
              <a:solidFill>
                <a:schemeClr val="dk1"/>
              </a:solidFill>
              <a:latin typeface="微软雅黑" panose="020B0503020204020204" pitchFamily="34" charset="-122"/>
              <a:ea typeface="微软雅黑" panose="020B0503020204020204" pitchFamily="34" charset="-122"/>
              <a:sym typeface="+mn-ea"/>
            </a:endParaRPr>
          </a:p>
        </p:txBody>
      </p:sp>
      <p:sp>
        <p:nvSpPr>
          <p:cNvPr id="15" name="文本框 3"/>
          <p:cNvSpPr txBox="1"/>
          <p:nvPr>
            <p:custDataLst>
              <p:tags r:id="rId4"/>
            </p:custDataLst>
          </p:nvPr>
        </p:nvSpPr>
        <p:spPr>
          <a:xfrm>
            <a:off x="457155" y="152401"/>
            <a:ext cx="11277689" cy="609600"/>
          </a:xfrm>
          <a:prstGeom prst="rect">
            <a:avLst/>
          </a:prstGeom>
          <a:noFill/>
        </p:spPr>
        <p:txBody>
          <a:bodyPr wrap="square" lIns="63500" tIns="25400" rIns="63500" bIns="25400" rtlCol="0" anchor="ctr" anchorCtr="0">
            <a:normAutofit/>
          </a:bodyPr>
          <a:lstStyle/>
          <a:p>
            <a:pPr marL="0" indent="0" algn="l">
              <a:lnSpc>
                <a:spcPct val="100000"/>
              </a:lnSpc>
              <a:spcBef>
                <a:spcPts val="0"/>
              </a:spcBef>
              <a:spcAft>
                <a:spcPts val="0"/>
              </a:spcAft>
              <a:buSzPct val="100000"/>
              <a:buNone/>
            </a:pPr>
            <a:r>
              <a:rPr lang="zh-CN" altLang="en-US" sz="3200" b="1" spc="160" dirty="0">
                <a:solidFill>
                  <a:schemeClr val="lt1"/>
                </a:solidFill>
                <a:uFillTx/>
                <a:latin typeface="微软雅黑" panose="020B0503020204020204" pitchFamily="34" charset="-122"/>
                <a:ea typeface="微软雅黑" panose="020B0503020204020204" pitchFamily="34" charset="-122"/>
                <a:sym typeface="+mn-ea"/>
              </a:rPr>
              <a:t>项目组及成员分工安排</a:t>
            </a:r>
          </a:p>
        </p:txBody>
      </p:sp>
      <p:sp>
        <p:nvSpPr>
          <p:cNvPr id="17" name="Title 6"/>
          <p:cNvSpPr txBox="1"/>
          <p:nvPr>
            <p:custDataLst>
              <p:tags r:id="rId5"/>
            </p:custDataLst>
          </p:nvPr>
        </p:nvSpPr>
        <p:spPr>
          <a:xfrm>
            <a:off x="2649855" y="1949465"/>
            <a:ext cx="6705594" cy="3666350"/>
          </a:xfrm>
          <a:prstGeom prst="rect">
            <a:avLst/>
          </a:prstGeom>
          <a:noFill/>
          <a:ln w="3175">
            <a:noFill/>
            <a:prstDash val="dash"/>
          </a:ln>
        </p:spPr>
        <p:txBody>
          <a:bodyPr wrap="square" lIns="63500" tIns="25400" rIns="63500" bIns="25400" anchor="t" anchorCtr="0">
            <a:normAutofit fontScale="70000" lnSpcReduction="20000"/>
          </a:bodyPr>
          <a:lstStyle>
            <a:lvl1pPr algn="l" defTabSz="913765"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anose="020B0502040204020203" pitchFamily="34" charset="0"/>
              </a:defRPr>
            </a:lvl1pPr>
          </a:lstStyle>
          <a:p>
            <a:pPr marL="0" lvl="0" indent="0" algn="l">
              <a:lnSpc>
                <a:spcPct val="120000"/>
              </a:lnSpc>
              <a:spcBef>
                <a:spcPts val="0"/>
              </a:spcBef>
              <a:spcAft>
                <a:spcPts val="800"/>
              </a:spcAft>
              <a:buSzPct val="100000"/>
              <a:buNone/>
            </a:pP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刘永鹏：</a:t>
            </a:r>
          </a:p>
          <a:p>
            <a:pPr marL="342900" lvl="0" indent="-342900" algn="l">
              <a:lnSpc>
                <a:spcPct val="120000"/>
              </a:lnSpc>
              <a:spcBef>
                <a:spcPts val="0"/>
              </a:spcBef>
              <a:spcAft>
                <a:spcPts val="800"/>
              </a:spcAft>
              <a:buSzPct val="100000"/>
              <a:buFont typeface="Arial" panose="020B0604020202020204" pitchFamily="34" charset="0"/>
              <a:buChar char="•"/>
            </a:pP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对技术表格进行抽象，前后端表格相关数据接口规范</a:t>
            </a:r>
          </a:p>
          <a:p>
            <a:pPr marL="342900" lvl="0" indent="-342900" algn="l">
              <a:lnSpc>
                <a:spcPct val="120000"/>
              </a:lnSpc>
              <a:spcBef>
                <a:spcPts val="0"/>
              </a:spcBef>
              <a:spcAft>
                <a:spcPts val="800"/>
              </a:spcAft>
              <a:buSzPct val="100000"/>
              <a:buFont typeface="Arial" panose="020B0604020202020204" pitchFamily="34" charset="0"/>
              <a:buChar char="•"/>
            </a:pP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根据前端数据自动填写表单，共计为全14种合同模板提供脚本支持</a:t>
            </a:r>
          </a:p>
          <a:p>
            <a:pPr lvl="0" indent="0" algn="l">
              <a:lnSpc>
                <a:spcPct val="120000"/>
              </a:lnSpc>
              <a:spcBef>
                <a:spcPts val="0"/>
              </a:spcBef>
              <a:spcAft>
                <a:spcPts val="800"/>
              </a:spcAft>
              <a:buSzPct val="100000"/>
              <a:buFont typeface="Arial" panose="020B0604020202020204" pitchFamily="34" charset="0"/>
            </a:pP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孙文戈：</a:t>
            </a:r>
          </a:p>
          <a:p>
            <a:pPr marL="342900" lvl="0" indent="-342900" algn="l">
              <a:lnSpc>
                <a:spcPct val="120000"/>
              </a:lnSpc>
              <a:spcBef>
                <a:spcPts val="0"/>
              </a:spcBef>
              <a:spcAft>
                <a:spcPts val="800"/>
              </a:spcAft>
              <a:buSzPct val="100000"/>
              <a:buFont typeface="Arial" panose="020B0604020202020204" pitchFamily="34" charset="0"/>
              <a:buChar char="•"/>
            </a:pP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参与数据表格的设计、创建</a:t>
            </a:r>
          </a:p>
          <a:p>
            <a:pPr marL="342900" lvl="0" indent="-342900" algn="l">
              <a:lnSpc>
                <a:spcPct val="120000"/>
              </a:lnSpc>
              <a:spcBef>
                <a:spcPts val="0"/>
              </a:spcBef>
              <a:spcAft>
                <a:spcPts val="800"/>
              </a:spcAft>
              <a:buSzPct val="100000"/>
              <a:buFont typeface="Arial" panose="020B0604020202020204" pitchFamily="34" charset="0"/>
              <a:buChar char="•"/>
            </a:pP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对接测试中心工作人员完成网站功能需求分析</a:t>
            </a:r>
          </a:p>
          <a:p>
            <a:pPr marL="342900" lvl="0" indent="-342900" algn="l">
              <a:lnSpc>
                <a:spcPct val="120000"/>
              </a:lnSpc>
              <a:spcBef>
                <a:spcPts val="0"/>
              </a:spcBef>
              <a:spcAft>
                <a:spcPts val="800"/>
              </a:spcAft>
              <a:buSzPct val="100000"/>
              <a:buFont typeface="Arial" panose="020B0604020202020204" pitchFamily="34" charset="0"/>
              <a:buChar char="•"/>
            </a:pP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整体业务流程代码的编写</a:t>
            </a:r>
          </a:p>
          <a:p>
            <a:pPr lvl="0" indent="0" algn="l">
              <a:lnSpc>
                <a:spcPct val="120000"/>
              </a:lnSpc>
              <a:spcBef>
                <a:spcPts val="0"/>
              </a:spcBef>
              <a:spcAft>
                <a:spcPts val="800"/>
              </a:spcAft>
              <a:buSzPct val="100000"/>
              <a:buFont typeface="Arial" panose="020B0604020202020204" pitchFamily="34" charset="0"/>
            </a:pPr>
            <a:r>
              <a:rPr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	</a:t>
            </a: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测试方案管理</a:t>
            </a:r>
          </a:p>
          <a:p>
            <a:pPr lvl="0" indent="0" algn="l">
              <a:lnSpc>
                <a:spcPct val="120000"/>
              </a:lnSpc>
              <a:spcBef>
                <a:spcPts val="0"/>
              </a:spcBef>
              <a:spcAft>
                <a:spcPts val="800"/>
              </a:spcAft>
              <a:buSzPct val="100000"/>
              <a:buFont typeface="Arial" panose="020B0604020202020204" pitchFamily="34" charset="0"/>
            </a:pPr>
            <a:r>
              <a:rPr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	</a:t>
            </a: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公司管理/认证</a:t>
            </a:r>
          </a:p>
          <a:p>
            <a:pPr marL="342900" lvl="0" indent="-342900" algn="l">
              <a:lnSpc>
                <a:spcPct val="120000"/>
              </a:lnSpc>
              <a:spcBef>
                <a:spcPts val="0"/>
              </a:spcBef>
              <a:spcAft>
                <a:spcPts val="800"/>
              </a:spcAft>
              <a:buSzPct val="100000"/>
              <a:buFont typeface="Arial" panose="020B0604020202020204" pitchFamily="34" charset="0"/>
              <a:buChar char="•"/>
            </a:pP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编写需求文档</a:t>
            </a:r>
            <a:endParaRPr lang="en-US"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endParaRPr>
          </a:p>
          <a:p>
            <a:pPr marL="342900" lvl="0" indent="-342900" algn="l">
              <a:lnSpc>
                <a:spcPct val="120000"/>
              </a:lnSpc>
              <a:spcBef>
                <a:spcPts val="0"/>
              </a:spcBef>
              <a:spcAft>
                <a:spcPts val="800"/>
              </a:spcAft>
              <a:buSzPct val="100000"/>
              <a:buFont typeface="Arial" panose="020B0604020202020204" pitchFamily="34" charset="0"/>
              <a:buChar char="•"/>
            </a:pPr>
            <a:r>
              <a:rPr lang="zh-CN" altLang="en-US"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相关测试</a:t>
            </a:r>
            <a:endPar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3" name="矩形 11"/>
          <p:cNvSpPr/>
          <p:nvPr>
            <p:custDataLst>
              <p:tags r:id="rId6"/>
            </p:custDataLst>
          </p:nvPr>
        </p:nvSpPr>
        <p:spPr>
          <a:xfrm>
            <a:off x="10058481" y="2743222"/>
            <a:ext cx="2133617" cy="259082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4" name="矩形 10"/>
          <p:cNvSpPr/>
          <p:nvPr>
            <p:custDataLst>
              <p:tags r:id="rId7"/>
            </p:custDataLst>
          </p:nvPr>
        </p:nvSpPr>
        <p:spPr>
          <a:xfrm>
            <a:off x="0" y="2743222"/>
            <a:ext cx="2133617" cy="259082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3" name="灯片编号占位符 2"/>
          <p:cNvSpPr>
            <a:spLocks noGrp="1"/>
          </p:cNvSpPr>
          <p:nvPr>
            <p:ph type="sldNum" sz="quarter" idx="12"/>
          </p:nvPr>
        </p:nvSpPr>
        <p:spPr/>
        <p:txBody>
          <a:bodyPr/>
          <a:lstStyle/>
          <a:p>
            <a:fld id="{5DD3DB80-B894-403A-B48E-6FDC1A72010E}" type="slidenum">
              <a:rPr lang="zh-CN" altLang="en-US" smtClean="0"/>
              <a:t>10</a:t>
            </a:fld>
            <a:endParaRPr lang="zh-CN" altLang="en-US"/>
          </a:p>
        </p:txBody>
      </p:sp>
    </p:spTree>
    <p:custDataLst>
      <p:tags r:id="rId1"/>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ïŝlíḑè"/>
        <p:cNvGrpSpPr/>
        <p:nvPr/>
      </p:nvGrpSpPr>
      <p:grpSpPr>
        <a:xfrm>
          <a:off x="0" y="0"/>
          <a:ext cx="0" cy="0"/>
          <a:chOff x="0" y="0"/>
          <a:chExt cx="0" cy="0"/>
        </a:xfrm>
      </p:grpSpPr>
      <p:sp>
        <p:nvSpPr>
          <p:cNvPr id="11" name="矩形 9"/>
          <p:cNvSpPr/>
          <p:nvPr userDrawn="1">
            <p:custDataLst>
              <p:tags r:id="rId2"/>
            </p:custDataLst>
          </p:nvPr>
        </p:nvSpPr>
        <p:spPr>
          <a:xfrm>
            <a:off x="0" y="0"/>
            <a:ext cx="12192000" cy="912114"/>
          </a:xfrm>
          <a:prstGeom prst="rect">
            <a:avLst/>
          </a:prstGeom>
          <a:solidFill>
            <a:schemeClr val="dk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a:solidFill>
                <a:schemeClr val="lt1"/>
              </a:solidFill>
              <a:latin typeface="微软雅黑" panose="020B0503020204020204" pitchFamily="34" charset="-122"/>
              <a:ea typeface="微软雅黑" panose="020B0503020204020204" pitchFamily="34" charset="-122"/>
              <a:sym typeface="+mn-ea"/>
            </a:endParaRPr>
          </a:p>
        </p:txBody>
      </p:sp>
      <p:sp>
        <p:nvSpPr>
          <p:cNvPr id="12" name="矩形 13"/>
          <p:cNvSpPr/>
          <p:nvPr>
            <p:custDataLst>
              <p:tags r:id="rId3"/>
            </p:custDataLst>
          </p:nvPr>
        </p:nvSpPr>
        <p:spPr>
          <a:xfrm>
            <a:off x="2438398" y="1369440"/>
            <a:ext cx="7315215" cy="5031244"/>
          </a:xfrm>
          <a:prstGeom prst="rect">
            <a:avLst/>
          </a:prstGeom>
          <a:solidFill>
            <a:schemeClr val="lt2"/>
          </a:solidFill>
          <a:ln>
            <a:noFill/>
          </a:ln>
          <a:effectLst>
            <a:outerShdw blurRad="254000" dir="5400000" algn="ctr" rotWithShape="0">
              <a:schemeClr val="lt2">
                <a:lumMod val="75000"/>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rmAutofit/>
          </a:bodyPr>
          <a:lstStyle/>
          <a:p>
            <a:pPr lvl="0" algn="ctr">
              <a:buClrTx/>
              <a:buSzTx/>
              <a:buFontTx/>
            </a:pPr>
            <a:endParaRPr lang="zh-CN" altLang="en-US">
              <a:solidFill>
                <a:schemeClr val="dk1"/>
              </a:solidFill>
              <a:latin typeface="微软雅黑" panose="020B0503020204020204" pitchFamily="34" charset="-122"/>
              <a:ea typeface="微软雅黑" panose="020B0503020204020204" pitchFamily="34" charset="-122"/>
              <a:sym typeface="+mn-ea"/>
            </a:endParaRPr>
          </a:p>
        </p:txBody>
      </p:sp>
      <p:sp>
        <p:nvSpPr>
          <p:cNvPr id="15" name="文本框 3"/>
          <p:cNvSpPr txBox="1"/>
          <p:nvPr>
            <p:custDataLst>
              <p:tags r:id="rId4"/>
            </p:custDataLst>
          </p:nvPr>
        </p:nvSpPr>
        <p:spPr>
          <a:xfrm>
            <a:off x="457155" y="152401"/>
            <a:ext cx="11277689" cy="609600"/>
          </a:xfrm>
          <a:prstGeom prst="rect">
            <a:avLst/>
          </a:prstGeom>
          <a:noFill/>
        </p:spPr>
        <p:txBody>
          <a:bodyPr wrap="square" lIns="63500" tIns="25400" rIns="63500" bIns="25400" rtlCol="0" anchor="ctr" anchorCtr="0">
            <a:normAutofit/>
          </a:bodyPr>
          <a:lstStyle/>
          <a:p>
            <a:pPr marL="0" indent="0" algn="l">
              <a:lnSpc>
                <a:spcPct val="100000"/>
              </a:lnSpc>
              <a:spcBef>
                <a:spcPts val="0"/>
              </a:spcBef>
              <a:spcAft>
                <a:spcPts val="0"/>
              </a:spcAft>
              <a:buSzPct val="100000"/>
              <a:buNone/>
            </a:pPr>
            <a:r>
              <a:rPr lang="zh-CN" altLang="en-US" sz="3200" b="1" spc="160" dirty="0">
                <a:solidFill>
                  <a:schemeClr val="lt1"/>
                </a:solidFill>
                <a:uFillTx/>
                <a:latin typeface="微软雅黑" panose="020B0503020204020204" pitchFamily="34" charset="-122"/>
                <a:ea typeface="微软雅黑" panose="020B0503020204020204" pitchFamily="34" charset="-122"/>
                <a:sym typeface="+mn-ea"/>
              </a:rPr>
              <a:t>项目组及成员分工安排</a:t>
            </a:r>
          </a:p>
        </p:txBody>
      </p:sp>
      <p:sp>
        <p:nvSpPr>
          <p:cNvPr id="17" name="Title 6"/>
          <p:cNvSpPr txBox="1"/>
          <p:nvPr>
            <p:custDataLst>
              <p:tags r:id="rId5"/>
            </p:custDataLst>
          </p:nvPr>
        </p:nvSpPr>
        <p:spPr>
          <a:xfrm>
            <a:off x="2535555" y="1941830"/>
            <a:ext cx="6705600" cy="3902710"/>
          </a:xfrm>
          <a:prstGeom prst="rect">
            <a:avLst/>
          </a:prstGeom>
          <a:noFill/>
          <a:ln w="3175">
            <a:noFill/>
            <a:prstDash val="dash"/>
          </a:ln>
        </p:spPr>
        <p:txBody>
          <a:bodyPr wrap="square" lIns="63500" tIns="25400" rIns="63500" bIns="25400" anchor="t" anchorCtr="0">
            <a:normAutofit fontScale="80000" lnSpcReduction="10000"/>
          </a:bodyPr>
          <a:lstStyle>
            <a:lvl1pPr algn="l" defTabSz="913765"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anose="020B0502040204020203" pitchFamily="34" charset="0"/>
              </a:defRPr>
            </a:lvl1pPr>
          </a:lstStyle>
          <a:p>
            <a:pPr marL="0" lvl="0" indent="0" algn="l">
              <a:lnSpc>
                <a:spcPct val="120000"/>
              </a:lnSpc>
              <a:spcBef>
                <a:spcPts val="0"/>
              </a:spcBef>
              <a:spcAft>
                <a:spcPts val="800"/>
              </a:spcAft>
              <a:buSzPct val="100000"/>
              <a:buNone/>
            </a:pP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张城铨：</a:t>
            </a:r>
          </a:p>
          <a:p>
            <a:pPr marL="171450" lvl="0" indent="-171450" algn="l">
              <a:lnSpc>
                <a:spcPct val="120000"/>
              </a:lnSpc>
              <a:spcBef>
                <a:spcPts val="0"/>
              </a:spcBef>
              <a:spcAft>
                <a:spcPts val="800"/>
              </a:spcAft>
              <a:buSzPct val="100000"/>
              <a:buFont typeface="Arial" panose="020B0604020202020204" pitchFamily="34" charset="0"/>
              <a:buChar char="•"/>
            </a:pP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  产经与测试中心工作人员以及前端E组对接</a:t>
            </a:r>
          </a:p>
          <a:p>
            <a:pPr marL="628650" lvl="1" indent="-171450" algn="l">
              <a:lnSpc>
                <a:spcPct val="120000"/>
              </a:lnSpc>
              <a:spcBef>
                <a:spcPts val="0"/>
              </a:spcBef>
              <a:spcAft>
                <a:spcPts val="800"/>
              </a:spcAft>
              <a:buSzPct val="100000"/>
              <a:buFont typeface="Arial" panose="020B0604020202020204" pitchFamily="34" charset="0"/>
              <a:buChar char="•"/>
            </a:pPr>
            <a:r>
              <a:rPr lang="zh-CN" altLang="zh-CN" sz="131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项目需求分析</a:t>
            </a:r>
          </a:p>
          <a:p>
            <a:pPr marL="1085850" lvl="2" indent="-171450" algn="l">
              <a:lnSpc>
                <a:spcPct val="120000"/>
              </a:lnSpc>
              <a:spcBef>
                <a:spcPts val="0"/>
              </a:spcBef>
              <a:spcAft>
                <a:spcPts val="800"/>
              </a:spcAft>
              <a:buSzPct val="100000"/>
              <a:buFont typeface="Arial" panose="020B0604020202020204" pitchFamily="34" charset="0"/>
              <a:buChar char="•"/>
            </a:pPr>
            <a:r>
              <a:rPr lang="zh-CN" altLang="zh-CN" sz="131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业务历程调研</a:t>
            </a:r>
          </a:p>
          <a:p>
            <a:pPr marL="628650" lvl="1" indent="-171450" algn="l">
              <a:lnSpc>
                <a:spcPct val="120000"/>
              </a:lnSpc>
              <a:spcBef>
                <a:spcPts val="0"/>
              </a:spcBef>
              <a:spcAft>
                <a:spcPts val="800"/>
              </a:spcAft>
              <a:buSzPct val="100000"/>
              <a:buFont typeface="Arial" panose="020B0604020202020204" pitchFamily="34" charset="0"/>
              <a:buChar char="•"/>
            </a:pPr>
            <a:r>
              <a:rPr lang="zh-CN" altLang="zh-CN" sz="131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文档维护</a:t>
            </a:r>
          </a:p>
          <a:p>
            <a:pPr marL="1085850" lvl="2" indent="-171450" algn="l">
              <a:lnSpc>
                <a:spcPct val="120000"/>
              </a:lnSpc>
              <a:spcBef>
                <a:spcPts val="0"/>
              </a:spcBef>
              <a:spcAft>
                <a:spcPts val="800"/>
              </a:spcAft>
              <a:buSzPct val="100000"/>
              <a:buFont typeface="Arial" panose="020B0604020202020204" pitchFamily="34" charset="0"/>
              <a:buChar char="•"/>
            </a:pPr>
            <a:r>
              <a:rPr lang="zh-CN" altLang="zh-CN" sz="131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工作日志的维护</a:t>
            </a:r>
          </a:p>
          <a:p>
            <a:pPr marL="1085850" lvl="2" indent="-171450" algn="l">
              <a:lnSpc>
                <a:spcPct val="120000"/>
              </a:lnSpc>
              <a:spcBef>
                <a:spcPts val="0"/>
              </a:spcBef>
              <a:spcAft>
                <a:spcPts val="800"/>
              </a:spcAft>
              <a:buSzPct val="100000"/>
              <a:buFont typeface="Arial" panose="020B0604020202020204" pitchFamily="34" charset="0"/>
              <a:buChar char="•"/>
            </a:pPr>
            <a:r>
              <a:rPr lang="zh-CN" altLang="zh-CN" sz="131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需求规格说明书</a:t>
            </a:r>
          </a:p>
          <a:p>
            <a:pPr marL="1085850" lvl="2" indent="-171450" algn="l">
              <a:lnSpc>
                <a:spcPct val="120000"/>
              </a:lnSpc>
              <a:spcBef>
                <a:spcPts val="0"/>
              </a:spcBef>
              <a:spcAft>
                <a:spcPts val="800"/>
              </a:spcAft>
              <a:buSzPct val="100000"/>
              <a:buFont typeface="Arial" panose="020B0604020202020204" pitchFamily="34" charset="0"/>
              <a:buChar char="•"/>
            </a:pPr>
            <a:r>
              <a:rPr lang="zh-CN" altLang="zh-CN" sz="131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业务流程、流程图</a:t>
            </a:r>
            <a:r>
              <a:rPr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			</a:t>
            </a: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        </a:t>
            </a:r>
          </a:p>
          <a:p>
            <a:pPr marL="171450" lvl="0" indent="-171450" algn="l">
              <a:lnSpc>
                <a:spcPct val="120000"/>
              </a:lnSpc>
              <a:spcBef>
                <a:spcPts val="0"/>
              </a:spcBef>
              <a:spcAft>
                <a:spcPts val="800"/>
              </a:spcAft>
              <a:buSzPct val="100000"/>
              <a:buFont typeface="Arial" panose="020B0604020202020204" pitchFamily="34" charset="0"/>
              <a:buChar char="•"/>
            </a:pP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整体业务流程代码的编写</a:t>
            </a:r>
            <a:r>
              <a:rPr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	</a:t>
            </a: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 </a:t>
            </a:r>
          </a:p>
          <a:p>
            <a:pPr marL="628650" lvl="1" indent="-171450" algn="l">
              <a:lnSpc>
                <a:spcPct val="120000"/>
              </a:lnSpc>
              <a:spcBef>
                <a:spcPts val="0"/>
              </a:spcBef>
              <a:spcAft>
                <a:spcPts val="800"/>
              </a:spcAft>
              <a:buSzPct val="100000"/>
              <a:buFont typeface="Arial" panose="020B0604020202020204" pitchFamily="34" charset="0"/>
              <a:buChar char="•"/>
            </a:pPr>
            <a:r>
              <a:rPr lang="zh-CN" altLang="zh-CN" sz="131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测试报告管理，</a:t>
            </a:r>
          </a:p>
          <a:p>
            <a:pPr marL="628650" lvl="1" indent="-171450" algn="l">
              <a:lnSpc>
                <a:spcPct val="120000"/>
              </a:lnSpc>
              <a:spcBef>
                <a:spcPts val="0"/>
              </a:spcBef>
              <a:spcAft>
                <a:spcPts val="800"/>
              </a:spcAft>
              <a:buSzPct val="100000"/>
              <a:buFont typeface="Arial" panose="020B0604020202020204" pitchFamily="34" charset="0"/>
              <a:buChar char="•"/>
            </a:pPr>
            <a:r>
              <a:rPr lang="zh-CN" altLang="zh-CN" sz="131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公司管理/认证，</a:t>
            </a:r>
          </a:p>
          <a:p>
            <a:pPr marL="628650" lvl="1" indent="-171450" algn="l">
              <a:lnSpc>
                <a:spcPct val="120000"/>
              </a:lnSpc>
              <a:spcBef>
                <a:spcPts val="0"/>
              </a:spcBef>
              <a:spcAft>
                <a:spcPts val="800"/>
              </a:spcAft>
              <a:buSzPct val="100000"/>
              <a:buFont typeface="Arial" panose="020B0604020202020204" pitchFamily="34" charset="0"/>
              <a:buChar char="•"/>
            </a:pPr>
            <a:r>
              <a:rPr lang="zh-CN" altLang="zh-CN" sz="131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相关测试</a:t>
            </a:r>
          </a:p>
          <a:p>
            <a:pPr marL="171450" lvl="0" indent="-171450" algn="l">
              <a:lnSpc>
                <a:spcPct val="120000"/>
              </a:lnSpc>
              <a:spcBef>
                <a:spcPts val="0"/>
              </a:spcBef>
              <a:spcAft>
                <a:spcPts val="800"/>
              </a:spcAft>
              <a:buSzPct val="100000"/>
            </a:pPr>
            <a:endPar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3" name="矩形 11"/>
          <p:cNvSpPr/>
          <p:nvPr>
            <p:custDataLst>
              <p:tags r:id="rId6"/>
            </p:custDataLst>
          </p:nvPr>
        </p:nvSpPr>
        <p:spPr>
          <a:xfrm>
            <a:off x="10058481" y="2743222"/>
            <a:ext cx="2133617" cy="259082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4" name="矩形 10"/>
          <p:cNvSpPr/>
          <p:nvPr>
            <p:custDataLst>
              <p:tags r:id="rId7"/>
            </p:custDataLst>
          </p:nvPr>
        </p:nvSpPr>
        <p:spPr>
          <a:xfrm>
            <a:off x="0" y="2743222"/>
            <a:ext cx="2133617" cy="259082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3" name="灯片编号占位符 2"/>
          <p:cNvSpPr>
            <a:spLocks noGrp="1"/>
          </p:cNvSpPr>
          <p:nvPr>
            <p:ph type="sldNum" sz="quarter" idx="12"/>
          </p:nvPr>
        </p:nvSpPr>
        <p:spPr/>
        <p:txBody>
          <a:bodyPr/>
          <a:lstStyle/>
          <a:p>
            <a:fld id="{5DD3DB80-B894-403A-B48E-6FDC1A72010E}" type="slidenum">
              <a:rPr lang="zh-CN" altLang="en-US" smtClean="0"/>
              <a:t>11</a:t>
            </a:fld>
            <a:endParaRPr lang="zh-CN" altLang="en-US"/>
          </a:p>
        </p:txBody>
      </p:sp>
    </p:spTree>
    <p:custDataLst>
      <p:tags r:id="rId1"/>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iṣlîḍé"/>
        <p:cNvGrpSpPr/>
        <p:nvPr/>
      </p:nvGrpSpPr>
      <p:grpSpPr>
        <a:xfrm>
          <a:off x="0" y="0"/>
          <a:ext cx="0" cy="0"/>
          <a:chOff x="0" y="0"/>
          <a:chExt cx="0" cy="0"/>
        </a:xfrm>
      </p:grpSpPr>
      <p:sp>
        <p:nvSpPr>
          <p:cNvPr id="5" name="îsľiḓé"/>
          <p:cNvSpPr>
            <a:spLocks noGrp="1"/>
          </p:cNvSpPr>
          <p:nvPr>
            <p:ph type="title"/>
          </p:nvPr>
        </p:nvSpPr>
        <p:spPr/>
        <p:txBody>
          <a:bodyPr>
            <a:normAutofit/>
          </a:bodyPr>
          <a:lstStyle/>
          <a:p>
            <a:r>
              <a:rPr lang="zh-CN" altLang="en-US" sz="3200" dirty="0">
                <a:sym typeface="+mn-ea"/>
              </a:rPr>
              <a:t>项目组进度及里程碑</a:t>
            </a:r>
            <a:endParaRPr lang="zh-CN" altLang="en-US" sz="3200" dirty="0"/>
          </a:p>
        </p:txBody>
      </p:sp>
      <p:sp>
        <p:nvSpPr>
          <p:cNvPr id="9" name="ïŝľîḓe"/>
          <p:cNvSpPr txBox="1"/>
          <p:nvPr/>
        </p:nvSpPr>
        <p:spPr>
          <a:xfrm>
            <a:off x="753604" y="1790699"/>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3</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2"/>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ïŝlíḑè"/>
        <p:cNvGrpSpPr/>
        <p:nvPr/>
      </p:nvGrpSpPr>
      <p:grpSpPr>
        <a:xfrm>
          <a:off x="0" y="0"/>
          <a:ext cx="0" cy="0"/>
          <a:chOff x="0" y="0"/>
          <a:chExt cx="0" cy="0"/>
        </a:xfrm>
      </p:grpSpPr>
      <p:sp>
        <p:nvSpPr>
          <p:cNvPr id="18" name="矩形 10"/>
          <p:cNvSpPr/>
          <p:nvPr>
            <p:custDataLst>
              <p:tags r:id="rId2"/>
            </p:custDataLst>
          </p:nvPr>
        </p:nvSpPr>
        <p:spPr>
          <a:xfrm>
            <a:off x="0" y="0"/>
            <a:ext cx="12192635" cy="6858635"/>
          </a:xfrm>
          <a:prstGeom prst="rect">
            <a:avLst/>
          </a:prstGeom>
          <a:pattFill prst="pct5">
            <a:fgClr>
              <a:schemeClr val="accent1"/>
            </a:fgClr>
            <a:bgClr>
              <a:schemeClr val="lt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9" name="矩形 11"/>
          <p:cNvSpPr/>
          <p:nvPr>
            <p:custDataLst>
              <p:tags r:id="rId3"/>
            </p:custDataLst>
          </p:nvPr>
        </p:nvSpPr>
        <p:spPr>
          <a:xfrm>
            <a:off x="1066809" y="1066781"/>
            <a:ext cx="10134681" cy="4724438"/>
          </a:xfrm>
          <a:prstGeom prst="rect">
            <a:avLst/>
          </a:prstGeom>
          <a:solidFill>
            <a:schemeClr val="lt2"/>
          </a:solidFill>
          <a:ln w="254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20" name="矩形 12"/>
          <p:cNvSpPr/>
          <p:nvPr>
            <p:custDataLst>
              <p:tags r:id="rId4"/>
            </p:custDataLst>
          </p:nvPr>
        </p:nvSpPr>
        <p:spPr>
          <a:xfrm>
            <a:off x="0" y="2133497"/>
            <a:ext cx="4419635" cy="1981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21" name="文本框 2"/>
          <p:cNvSpPr txBox="1"/>
          <p:nvPr>
            <p:custDataLst>
              <p:tags r:id="rId5"/>
            </p:custDataLst>
          </p:nvPr>
        </p:nvSpPr>
        <p:spPr>
          <a:xfrm>
            <a:off x="1066800" y="2438280"/>
            <a:ext cx="3048013" cy="1371587"/>
          </a:xfrm>
          <a:prstGeom prst="rect">
            <a:avLst/>
          </a:prstGeom>
          <a:noFill/>
        </p:spPr>
        <p:txBody>
          <a:bodyPr wrap="square" lIns="63500" tIns="25400" rIns="63500" bIns="25400" rtlCol="0" anchor="ctr" anchorCtr="0">
            <a:normAutofit/>
          </a:bodyPr>
          <a:lstStyle/>
          <a:p>
            <a:pPr marL="0" indent="0" algn="r">
              <a:lnSpc>
                <a:spcPct val="100000"/>
              </a:lnSpc>
              <a:spcBef>
                <a:spcPts val="0"/>
              </a:spcBef>
              <a:spcAft>
                <a:spcPts val="0"/>
              </a:spcAft>
              <a:buSzPct val="100000"/>
              <a:buNone/>
            </a:pPr>
            <a:r>
              <a:rPr lang="zh-CN" altLang="en-US" sz="4000" b="1" spc="240" dirty="0">
                <a:solidFill>
                  <a:schemeClr val="lt1"/>
                </a:solidFill>
                <a:uFillTx/>
                <a:latin typeface="微软雅黑" panose="020B0503020204020204" pitchFamily="34" charset="-122"/>
                <a:ea typeface="微软雅黑" panose="020B0503020204020204" pitchFamily="34" charset="-122"/>
                <a:sym typeface="+mn-ea"/>
              </a:rPr>
              <a:t>项目组进度及里程碑</a:t>
            </a:r>
          </a:p>
        </p:txBody>
      </p:sp>
      <p:sp>
        <p:nvSpPr>
          <p:cNvPr id="22" name="Title 6"/>
          <p:cNvSpPr txBox="1"/>
          <p:nvPr>
            <p:custDataLst>
              <p:tags r:id="rId6"/>
            </p:custDataLst>
          </p:nvPr>
        </p:nvSpPr>
        <p:spPr>
          <a:xfrm>
            <a:off x="5676948" y="1676520"/>
            <a:ext cx="4686325" cy="3504959"/>
          </a:xfrm>
          <a:prstGeom prst="rect">
            <a:avLst/>
          </a:prstGeom>
          <a:noFill/>
          <a:ln w="3175">
            <a:noFill/>
            <a:prstDash val="dash"/>
          </a:ln>
        </p:spPr>
        <p:txBody>
          <a:bodyPr wrap="square" lIns="63500" tIns="25400" rIns="63500" bIns="25400" anchor="ctr" anchorCtr="0">
            <a:normAutofit fontScale="87500" lnSpcReduction="20000"/>
          </a:bodyPr>
          <a:lstStyle>
            <a:lvl1pPr algn="l" defTabSz="913765"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anose="020B0502040204020203" pitchFamily="34" charset="0"/>
              </a:defRPr>
            </a:lvl1pPr>
          </a:lstStyle>
          <a:p>
            <a:pPr marL="355600" lvl="0" indent="-355600" algn="l" fontAlgn="ctr">
              <a:lnSpc>
                <a:spcPct val="120000"/>
              </a:lnSpc>
              <a:spcBef>
                <a:spcPts val="0"/>
              </a:spcBef>
              <a:spcAft>
                <a:spcPts val="800"/>
              </a:spcAft>
              <a:buSzPct val="100000"/>
              <a:buFont typeface="Wingdings" panose="05000000000000000000" charset="0"/>
              <a:buChar char="l"/>
            </a:pPr>
            <a:r>
              <a:rPr lang="en-US"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2022.2.14</a:t>
            </a:r>
          </a:p>
          <a:p>
            <a:pPr marL="355600" lvl="0" indent="-355600" algn="l" fontAlgn="ctr">
              <a:lnSpc>
                <a:spcPct val="120000"/>
              </a:lnSpc>
              <a:spcBef>
                <a:spcPts val="0"/>
              </a:spcBef>
              <a:spcAft>
                <a:spcPts val="800"/>
              </a:spcAft>
              <a:buSzPct val="100000"/>
              <a:buFont typeface="Wingdings" panose="05000000000000000000" charset="0"/>
              <a:buChar char="l"/>
            </a:pP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成立“南大测试在线管理平台”后端开发小组。</a:t>
            </a:r>
          </a:p>
          <a:p>
            <a:pPr marL="355600" lvl="0" indent="-355600" algn="l" fontAlgn="ctr">
              <a:lnSpc>
                <a:spcPct val="120000"/>
              </a:lnSpc>
              <a:spcBef>
                <a:spcPts val="0"/>
              </a:spcBef>
              <a:spcAft>
                <a:spcPts val="800"/>
              </a:spcAft>
              <a:buSzPct val="100000"/>
              <a:buFont typeface="Wingdings" panose="05000000000000000000" charset="0"/>
              <a:buChar char="l"/>
            </a:pPr>
            <a:endPar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355600" lvl="0" indent="-355600" algn="l" fontAlgn="ctr">
              <a:lnSpc>
                <a:spcPct val="120000"/>
              </a:lnSpc>
              <a:spcBef>
                <a:spcPts val="0"/>
              </a:spcBef>
              <a:spcAft>
                <a:spcPts val="800"/>
              </a:spcAft>
              <a:buSzPct val="100000"/>
              <a:buFont typeface="Wingdings" panose="05000000000000000000" charset="0"/>
              <a:buChar char="l"/>
            </a:pPr>
            <a:r>
              <a:rPr lang="en-US"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2022.2.26</a:t>
            </a:r>
          </a:p>
          <a:p>
            <a:pPr marL="355600" lvl="0" indent="-355600" algn="l" fontAlgn="ctr">
              <a:lnSpc>
                <a:spcPct val="120000"/>
              </a:lnSpc>
              <a:spcBef>
                <a:spcPts val="0"/>
              </a:spcBef>
              <a:spcAft>
                <a:spcPts val="800"/>
              </a:spcAft>
              <a:buSzPct val="100000"/>
              <a:buFont typeface="Wingdings" panose="05000000000000000000" charset="0"/>
              <a:buChar char="l"/>
            </a:pP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参观南京大学软件测试中心，了解业务流程</a:t>
            </a:r>
          </a:p>
          <a:p>
            <a:pPr marL="355600" lvl="0" indent="-355600" algn="l" fontAlgn="ctr">
              <a:lnSpc>
                <a:spcPct val="120000"/>
              </a:lnSpc>
              <a:spcBef>
                <a:spcPts val="0"/>
              </a:spcBef>
              <a:spcAft>
                <a:spcPts val="800"/>
              </a:spcAft>
              <a:buSzPct val="100000"/>
              <a:buFont typeface="Wingdings" panose="05000000000000000000" charset="0"/>
              <a:buChar char="l"/>
            </a:pPr>
            <a:endPar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355600" lvl="0" indent="-355600" algn="l" fontAlgn="ctr">
              <a:lnSpc>
                <a:spcPct val="120000"/>
              </a:lnSpc>
              <a:spcBef>
                <a:spcPts val="0"/>
              </a:spcBef>
              <a:spcAft>
                <a:spcPts val="800"/>
              </a:spcAft>
              <a:buSzPct val="100000"/>
              <a:buFont typeface="Wingdings" panose="05000000000000000000" charset="0"/>
              <a:buChar char="l"/>
            </a:pPr>
            <a:r>
              <a:rPr lang="en-US"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2022.4.25</a:t>
            </a:r>
          </a:p>
          <a:p>
            <a:pPr marL="355600" lvl="0" indent="-355600" algn="l" fontAlgn="ctr">
              <a:lnSpc>
                <a:spcPct val="120000"/>
              </a:lnSpc>
              <a:spcBef>
                <a:spcPts val="0"/>
              </a:spcBef>
              <a:spcAft>
                <a:spcPts val="800"/>
              </a:spcAft>
              <a:buSzPct val="100000"/>
              <a:buFont typeface="Wingdings" panose="05000000000000000000" charset="0"/>
              <a:buChar char="l"/>
            </a:pP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新建项目，创立Github仓库</a:t>
            </a:r>
          </a:p>
        </p:txBody>
      </p:sp>
      <p:sp>
        <p:nvSpPr>
          <p:cNvPr id="3" name="灯片编号占位符 2"/>
          <p:cNvSpPr>
            <a:spLocks noGrp="1"/>
          </p:cNvSpPr>
          <p:nvPr>
            <p:ph type="sldNum" sz="quarter" idx="12"/>
          </p:nvPr>
        </p:nvSpPr>
        <p:spPr/>
        <p:txBody>
          <a:bodyPr/>
          <a:lstStyle/>
          <a:p>
            <a:fld id="{5DD3DB80-B894-403A-B48E-6FDC1A72010E}" type="slidenum">
              <a:rPr lang="zh-CN" altLang="en-US" smtClean="0"/>
              <a:t>13</a:t>
            </a:fld>
            <a:endParaRPr lang="zh-CN" altLang="en-US"/>
          </a:p>
        </p:txBody>
      </p:sp>
    </p:spTree>
    <p:custDataLst>
      <p:tags r:id="rId1"/>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ïŝlíḑè"/>
        <p:cNvGrpSpPr/>
        <p:nvPr/>
      </p:nvGrpSpPr>
      <p:grpSpPr>
        <a:xfrm>
          <a:off x="0" y="0"/>
          <a:ext cx="0" cy="0"/>
          <a:chOff x="0" y="0"/>
          <a:chExt cx="0" cy="0"/>
        </a:xfrm>
      </p:grpSpPr>
      <p:sp>
        <p:nvSpPr>
          <p:cNvPr id="16" name="矩形 10"/>
          <p:cNvSpPr/>
          <p:nvPr>
            <p:custDataLst>
              <p:tags r:id="rId2"/>
            </p:custDataLst>
          </p:nvPr>
        </p:nvSpPr>
        <p:spPr>
          <a:xfrm>
            <a:off x="0" y="0"/>
            <a:ext cx="12192635" cy="6858635"/>
          </a:xfrm>
          <a:prstGeom prst="rect">
            <a:avLst/>
          </a:prstGeom>
          <a:pattFill prst="pct5">
            <a:fgClr>
              <a:schemeClr val="accent1"/>
            </a:fgClr>
            <a:bgClr>
              <a:schemeClr val="lt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7" name="矩形 11"/>
          <p:cNvSpPr/>
          <p:nvPr>
            <p:custDataLst>
              <p:tags r:id="rId3"/>
            </p:custDataLst>
          </p:nvPr>
        </p:nvSpPr>
        <p:spPr>
          <a:xfrm>
            <a:off x="1066809" y="1066781"/>
            <a:ext cx="10134681" cy="4724438"/>
          </a:xfrm>
          <a:prstGeom prst="rect">
            <a:avLst/>
          </a:prstGeom>
          <a:solidFill>
            <a:schemeClr val="lt2"/>
          </a:solidFill>
          <a:ln w="254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8" name="矩形 12"/>
          <p:cNvSpPr/>
          <p:nvPr>
            <p:custDataLst>
              <p:tags r:id="rId4"/>
            </p:custDataLst>
          </p:nvPr>
        </p:nvSpPr>
        <p:spPr>
          <a:xfrm>
            <a:off x="0" y="2133497"/>
            <a:ext cx="4419635" cy="1981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9" name="文本框 2"/>
          <p:cNvSpPr txBox="1"/>
          <p:nvPr>
            <p:custDataLst>
              <p:tags r:id="rId5"/>
            </p:custDataLst>
          </p:nvPr>
        </p:nvSpPr>
        <p:spPr>
          <a:xfrm>
            <a:off x="1066800" y="2438280"/>
            <a:ext cx="3048013" cy="1371587"/>
          </a:xfrm>
          <a:prstGeom prst="rect">
            <a:avLst/>
          </a:prstGeom>
          <a:noFill/>
        </p:spPr>
        <p:txBody>
          <a:bodyPr wrap="square" lIns="63500" tIns="25400" rIns="63500" bIns="25400" rtlCol="0" anchor="ctr" anchorCtr="0">
            <a:normAutofit/>
          </a:bodyPr>
          <a:lstStyle/>
          <a:p>
            <a:pPr marL="0" indent="0" algn="r">
              <a:lnSpc>
                <a:spcPct val="100000"/>
              </a:lnSpc>
              <a:spcBef>
                <a:spcPts val="0"/>
              </a:spcBef>
              <a:spcAft>
                <a:spcPts val="0"/>
              </a:spcAft>
              <a:buSzPct val="100000"/>
              <a:buNone/>
            </a:pPr>
            <a:r>
              <a:rPr lang="zh-CN" altLang="en-US" sz="4000" b="1" spc="240" dirty="0">
                <a:solidFill>
                  <a:schemeClr val="lt1"/>
                </a:solidFill>
                <a:uFillTx/>
                <a:latin typeface="微软雅黑" panose="020B0503020204020204" pitchFamily="34" charset="-122"/>
                <a:ea typeface="微软雅黑" panose="020B0503020204020204" pitchFamily="34" charset="-122"/>
                <a:sym typeface="+mn-ea"/>
              </a:rPr>
              <a:t>项目组进度及里程碑</a:t>
            </a:r>
          </a:p>
        </p:txBody>
      </p:sp>
      <p:sp>
        <p:nvSpPr>
          <p:cNvPr id="20" name="Title 6"/>
          <p:cNvSpPr txBox="1"/>
          <p:nvPr>
            <p:custDataLst>
              <p:tags r:id="rId6"/>
            </p:custDataLst>
          </p:nvPr>
        </p:nvSpPr>
        <p:spPr>
          <a:xfrm>
            <a:off x="5943648" y="1676520"/>
            <a:ext cx="4419625" cy="3504959"/>
          </a:xfrm>
          <a:prstGeom prst="rect">
            <a:avLst/>
          </a:prstGeom>
          <a:noFill/>
          <a:ln w="3175">
            <a:noFill/>
            <a:prstDash val="dash"/>
          </a:ln>
        </p:spPr>
        <p:txBody>
          <a:bodyPr wrap="square" lIns="63500" tIns="25400" rIns="63500" bIns="25400" anchor="ctr" anchorCtr="0">
            <a:normAutofit fontScale="87500" lnSpcReduction="20000"/>
          </a:bodyPr>
          <a:lstStyle>
            <a:lvl1pPr algn="l" defTabSz="913765"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anose="020B0502040204020203" pitchFamily="34" charset="0"/>
              </a:defRPr>
            </a:lvl1pPr>
          </a:lstStyle>
          <a:p>
            <a:pPr marL="355600" lvl="0" indent="-355600" algn="l" fontAlgn="ctr">
              <a:lnSpc>
                <a:spcPct val="120000"/>
              </a:lnSpc>
              <a:spcBef>
                <a:spcPts val="0"/>
              </a:spcBef>
              <a:spcAft>
                <a:spcPts val="800"/>
              </a:spcAft>
              <a:buSzPct val="100000"/>
              <a:buFont typeface="Wingdings" panose="05000000000000000000" charset="0"/>
              <a:buChar char="l"/>
            </a:pPr>
            <a:r>
              <a:rPr lang="en-US"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2022.5.9</a:t>
            </a:r>
          </a:p>
          <a:p>
            <a:pPr marL="355600" lvl="0" indent="-355600" algn="l" fontAlgn="ctr">
              <a:lnSpc>
                <a:spcPct val="120000"/>
              </a:lnSpc>
              <a:spcBef>
                <a:spcPts val="0"/>
              </a:spcBef>
              <a:spcAft>
                <a:spcPts val="800"/>
              </a:spcAft>
              <a:buSzPct val="100000"/>
              <a:buFont typeface="Wingdings" panose="05000000000000000000" charset="0"/>
              <a:buChar char="l"/>
            </a:pPr>
            <a:r>
              <a:rPr lang="zh-CN" altLang="en-US"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流程细化，完善基本需求</a:t>
            </a:r>
          </a:p>
          <a:p>
            <a:pPr marL="355600" lvl="0" indent="-355600" algn="l" fontAlgn="ctr">
              <a:lnSpc>
                <a:spcPct val="120000"/>
              </a:lnSpc>
              <a:spcBef>
                <a:spcPts val="0"/>
              </a:spcBef>
              <a:spcAft>
                <a:spcPts val="800"/>
              </a:spcAft>
              <a:buSzPct val="100000"/>
              <a:buFont typeface="Wingdings" panose="05000000000000000000" charset="0"/>
              <a:buChar char="l"/>
            </a:pPr>
            <a:endParaRPr lang="zh-CN" altLang="en-US"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355600" lvl="0" indent="-355600" algn="l" fontAlgn="ctr">
              <a:lnSpc>
                <a:spcPct val="120000"/>
              </a:lnSpc>
              <a:spcBef>
                <a:spcPts val="0"/>
              </a:spcBef>
              <a:spcAft>
                <a:spcPts val="800"/>
              </a:spcAft>
              <a:buSzPct val="100000"/>
              <a:buFont typeface="Wingdings" panose="05000000000000000000" charset="0"/>
              <a:buChar char="l"/>
            </a:pPr>
            <a:r>
              <a:rPr lang="en-US"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2022.5.16</a:t>
            </a:r>
          </a:p>
          <a:p>
            <a:pPr marL="355600" lvl="0" indent="-355600" algn="l" fontAlgn="ctr">
              <a:lnSpc>
                <a:spcPct val="120000"/>
              </a:lnSpc>
              <a:spcBef>
                <a:spcPts val="0"/>
              </a:spcBef>
              <a:spcAft>
                <a:spcPts val="800"/>
              </a:spcAft>
              <a:buSzPct val="100000"/>
              <a:buFont typeface="Wingdings" panose="05000000000000000000" charset="0"/>
              <a:buChar char="l"/>
            </a:pPr>
            <a:r>
              <a:rPr lang="zh-CN" altLang="en-US"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完成委托、合同、样品、测试方案、测试报告的相关接口并同步完成相应单元测试</a:t>
            </a:r>
          </a:p>
          <a:p>
            <a:pPr marL="355600" lvl="0" indent="-355600" algn="l" fontAlgn="ctr">
              <a:lnSpc>
                <a:spcPct val="120000"/>
              </a:lnSpc>
              <a:spcBef>
                <a:spcPts val="0"/>
              </a:spcBef>
              <a:spcAft>
                <a:spcPts val="800"/>
              </a:spcAft>
              <a:buSzPct val="100000"/>
              <a:buFont typeface="Wingdings" panose="05000000000000000000" charset="0"/>
              <a:buChar char="l"/>
            </a:pPr>
            <a:endParaRPr lang="zh-CN" altLang="en-US"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355600" lvl="0" indent="-355600" algn="l" fontAlgn="ctr">
              <a:lnSpc>
                <a:spcPct val="120000"/>
              </a:lnSpc>
              <a:spcBef>
                <a:spcPts val="0"/>
              </a:spcBef>
              <a:spcAft>
                <a:spcPts val="800"/>
              </a:spcAft>
              <a:buSzPct val="100000"/>
              <a:buFont typeface="Wingdings" panose="05000000000000000000" charset="0"/>
              <a:buChar char="l"/>
            </a:pPr>
            <a:r>
              <a:rPr lang="en-US"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2022.5.23</a:t>
            </a:r>
          </a:p>
          <a:p>
            <a:pPr marL="355600" lvl="0" indent="-355600" algn="l" fontAlgn="ctr">
              <a:lnSpc>
                <a:spcPct val="120000"/>
              </a:lnSpc>
              <a:spcBef>
                <a:spcPts val="0"/>
              </a:spcBef>
              <a:spcAft>
                <a:spcPts val="800"/>
              </a:spcAft>
              <a:buSzPct val="100000"/>
              <a:buFont typeface="Wingdings" panose="05000000000000000000" charset="0"/>
              <a:buChar char="l"/>
            </a:pPr>
            <a:r>
              <a:rPr lang="zh-CN" altLang="en-US"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完成基本功能</a:t>
            </a:r>
          </a:p>
        </p:txBody>
      </p:sp>
      <p:sp>
        <p:nvSpPr>
          <p:cNvPr id="3" name="灯片编号占位符 2"/>
          <p:cNvSpPr>
            <a:spLocks noGrp="1"/>
          </p:cNvSpPr>
          <p:nvPr>
            <p:ph type="sldNum" sz="quarter" idx="12"/>
          </p:nvPr>
        </p:nvSpPr>
        <p:spPr/>
        <p:txBody>
          <a:bodyPr/>
          <a:lstStyle/>
          <a:p>
            <a:fld id="{5DD3DB80-B894-403A-B48E-6FDC1A72010E}" type="slidenum">
              <a:rPr lang="zh-CN" altLang="en-US" smtClean="0"/>
              <a:t>14</a:t>
            </a:fld>
            <a:endParaRPr lang="zh-CN" altLang="en-US"/>
          </a:p>
        </p:txBody>
      </p:sp>
    </p:spTree>
    <p:custDataLst>
      <p:tags r:id="rId1"/>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ïŝlíḑè"/>
        <p:cNvGrpSpPr/>
        <p:nvPr/>
      </p:nvGrpSpPr>
      <p:grpSpPr>
        <a:xfrm>
          <a:off x="0" y="0"/>
          <a:ext cx="0" cy="0"/>
          <a:chOff x="0" y="0"/>
          <a:chExt cx="0" cy="0"/>
        </a:xfrm>
      </p:grpSpPr>
      <p:sp>
        <p:nvSpPr>
          <p:cNvPr id="16" name="矩形 10"/>
          <p:cNvSpPr/>
          <p:nvPr>
            <p:custDataLst>
              <p:tags r:id="rId2"/>
            </p:custDataLst>
          </p:nvPr>
        </p:nvSpPr>
        <p:spPr>
          <a:xfrm>
            <a:off x="0" y="0"/>
            <a:ext cx="12192635" cy="6858635"/>
          </a:xfrm>
          <a:prstGeom prst="rect">
            <a:avLst/>
          </a:prstGeom>
          <a:pattFill prst="pct5">
            <a:fgClr>
              <a:schemeClr val="accent1"/>
            </a:fgClr>
            <a:bgClr>
              <a:schemeClr val="lt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7" name="矩形 11"/>
          <p:cNvSpPr/>
          <p:nvPr>
            <p:custDataLst>
              <p:tags r:id="rId3"/>
            </p:custDataLst>
          </p:nvPr>
        </p:nvSpPr>
        <p:spPr>
          <a:xfrm>
            <a:off x="1066809" y="1066781"/>
            <a:ext cx="10134681" cy="4724438"/>
          </a:xfrm>
          <a:prstGeom prst="rect">
            <a:avLst/>
          </a:prstGeom>
          <a:solidFill>
            <a:schemeClr val="lt2"/>
          </a:solidFill>
          <a:ln w="254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8" name="矩形 12"/>
          <p:cNvSpPr/>
          <p:nvPr>
            <p:custDataLst>
              <p:tags r:id="rId4"/>
            </p:custDataLst>
          </p:nvPr>
        </p:nvSpPr>
        <p:spPr>
          <a:xfrm>
            <a:off x="0" y="2133497"/>
            <a:ext cx="4419635" cy="1981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9" name="文本框 2"/>
          <p:cNvSpPr txBox="1"/>
          <p:nvPr>
            <p:custDataLst>
              <p:tags r:id="rId5"/>
            </p:custDataLst>
          </p:nvPr>
        </p:nvSpPr>
        <p:spPr>
          <a:xfrm>
            <a:off x="1066800" y="2438280"/>
            <a:ext cx="3048013" cy="1371587"/>
          </a:xfrm>
          <a:prstGeom prst="rect">
            <a:avLst/>
          </a:prstGeom>
          <a:noFill/>
        </p:spPr>
        <p:txBody>
          <a:bodyPr wrap="square" lIns="63500" tIns="25400" rIns="63500" bIns="25400" rtlCol="0" anchor="ctr" anchorCtr="0">
            <a:normAutofit/>
          </a:bodyPr>
          <a:lstStyle/>
          <a:p>
            <a:pPr marL="0" indent="0" algn="r">
              <a:lnSpc>
                <a:spcPct val="100000"/>
              </a:lnSpc>
              <a:spcBef>
                <a:spcPts val="0"/>
              </a:spcBef>
              <a:spcAft>
                <a:spcPts val="0"/>
              </a:spcAft>
              <a:buSzPct val="100000"/>
              <a:buNone/>
            </a:pPr>
            <a:r>
              <a:rPr lang="zh-CN" altLang="en-US" sz="4000" b="1" spc="240" dirty="0">
                <a:solidFill>
                  <a:schemeClr val="lt1"/>
                </a:solidFill>
                <a:uFillTx/>
                <a:latin typeface="微软雅黑" panose="020B0503020204020204" pitchFamily="34" charset="-122"/>
                <a:ea typeface="微软雅黑" panose="020B0503020204020204" pitchFamily="34" charset="-122"/>
                <a:sym typeface="+mn-ea"/>
              </a:rPr>
              <a:t>项目组进度及里程碑</a:t>
            </a:r>
          </a:p>
        </p:txBody>
      </p:sp>
      <p:sp>
        <p:nvSpPr>
          <p:cNvPr id="20" name="Title 6"/>
          <p:cNvSpPr txBox="1"/>
          <p:nvPr>
            <p:custDataLst>
              <p:tags r:id="rId6"/>
            </p:custDataLst>
          </p:nvPr>
        </p:nvSpPr>
        <p:spPr>
          <a:xfrm>
            <a:off x="5943648" y="1950726"/>
            <a:ext cx="4419625" cy="2346960"/>
          </a:xfrm>
          <a:prstGeom prst="rect">
            <a:avLst/>
          </a:prstGeom>
          <a:noFill/>
          <a:ln w="3175">
            <a:noFill/>
            <a:prstDash val="dash"/>
          </a:ln>
        </p:spPr>
        <p:txBody>
          <a:bodyPr wrap="square" lIns="63500" tIns="25400" rIns="63500" bIns="25400" anchor="ctr" anchorCtr="0">
            <a:normAutofit/>
          </a:bodyPr>
          <a:lstStyle>
            <a:lvl1pPr algn="l" defTabSz="913765"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anose="020B0502040204020203" pitchFamily="34" charset="0"/>
              </a:defRPr>
            </a:lvl1pPr>
          </a:lstStyle>
          <a:p>
            <a:pPr marL="406400" lvl="0" indent="-406400" algn="l" fontAlgn="ctr">
              <a:lnSpc>
                <a:spcPct val="120000"/>
              </a:lnSpc>
              <a:spcBef>
                <a:spcPts val="0"/>
              </a:spcBef>
              <a:spcAft>
                <a:spcPts val="800"/>
              </a:spcAft>
              <a:buSzPct val="100000"/>
              <a:buFont typeface="Wingdings" panose="05000000000000000000" charset="0"/>
              <a:buChar char="l"/>
            </a:pPr>
            <a:r>
              <a:rPr lang="en-US" altLang="zh-CN" sz="1800" spc="16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2022.6.6</a:t>
            </a:r>
          </a:p>
          <a:p>
            <a:pPr marL="406400" lvl="0" indent="-406400" algn="l" fontAlgn="ctr">
              <a:lnSpc>
                <a:spcPct val="120000"/>
              </a:lnSpc>
              <a:spcBef>
                <a:spcPts val="0"/>
              </a:spcBef>
              <a:spcAft>
                <a:spcPts val="800"/>
              </a:spcAft>
              <a:buSzPct val="100000"/>
              <a:buFont typeface="Wingdings" panose="05000000000000000000" charset="0"/>
              <a:buChar char="l"/>
            </a:pPr>
            <a:r>
              <a:rPr lang="zh-CN" altLang="zh-CN" sz="1800" spc="16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基本完成相应文档的编写</a:t>
            </a:r>
          </a:p>
          <a:p>
            <a:pPr marL="406400" lvl="0" indent="-406400" algn="l" fontAlgn="ctr">
              <a:lnSpc>
                <a:spcPct val="120000"/>
              </a:lnSpc>
              <a:spcBef>
                <a:spcPts val="0"/>
              </a:spcBef>
              <a:spcAft>
                <a:spcPts val="800"/>
              </a:spcAft>
              <a:buSzPct val="100000"/>
              <a:buFont typeface="Wingdings" panose="05000000000000000000" charset="0"/>
              <a:buChar char="l"/>
            </a:pPr>
            <a:endParaRPr lang="zh-CN" altLang="zh-CN" sz="1800" spc="16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406400" lvl="0" indent="-406400" algn="l" fontAlgn="ctr">
              <a:lnSpc>
                <a:spcPct val="120000"/>
              </a:lnSpc>
              <a:spcBef>
                <a:spcPts val="0"/>
              </a:spcBef>
              <a:spcAft>
                <a:spcPts val="800"/>
              </a:spcAft>
              <a:buSzPct val="100000"/>
              <a:buFont typeface="Wingdings" panose="05000000000000000000" charset="0"/>
              <a:buChar char="l"/>
            </a:pPr>
            <a:r>
              <a:rPr lang="en-US" altLang="zh-CN" sz="1800" spc="16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2022.6.23</a:t>
            </a:r>
          </a:p>
          <a:p>
            <a:pPr marL="406400" lvl="0" indent="-406400" algn="l" fontAlgn="ctr">
              <a:lnSpc>
                <a:spcPct val="120000"/>
              </a:lnSpc>
              <a:spcBef>
                <a:spcPts val="0"/>
              </a:spcBef>
              <a:spcAft>
                <a:spcPts val="800"/>
              </a:spcAft>
              <a:buSzPct val="100000"/>
              <a:buFont typeface="Wingdings" panose="05000000000000000000" charset="0"/>
              <a:buChar char="l"/>
            </a:pPr>
            <a:r>
              <a:rPr lang="zh-CN" altLang="en-US" sz="1800" spc="16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项目结项</a:t>
            </a:r>
          </a:p>
        </p:txBody>
      </p:sp>
      <p:sp>
        <p:nvSpPr>
          <p:cNvPr id="3" name="灯片编号占位符 2"/>
          <p:cNvSpPr>
            <a:spLocks noGrp="1"/>
          </p:cNvSpPr>
          <p:nvPr>
            <p:ph type="sldNum" sz="quarter" idx="12"/>
          </p:nvPr>
        </p:nvSpPr>
        <p:spPr/>
        <p:txBody>
          <a:bodyPr/>
          <a:lstStyle/>
          <a:p>
            <a:fld id="{5DD3DB80-B894-403A-B48E-6FDC1A72010E}" type="slidenum">
              <a:rPr lang="zh-CN" altLang="en-US" smtClean="0"/>
              <a:t>15</a:t>
            </a:fld>
            <a:endParaRPr lang="zh-CN" altLang="en-US"/>
          </a:p>
        </p:txBody>
      </p:sp>
    </p:spTree>
    <p:custDataLst>
      <p:tags r:id="rId1"/>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iṣlîḍé"/>
        <p:cNvGrpSpPr/>
        <p:nvPr/>
      </p:nvGrpSpPr>
      <p:grpSpPr>
        <a:xfrm>
          <a:off x="0" y="0"/>
          <a:ext cx="0" cy="0"/>
          <a:chOff x="0" y="0"/>
          <a:chExt cx="0" cy="0"/>
        </a:xfrm>
      </p:grpSpPr>
      <p:sp>
        <p:nvSpPr>
          <p:cNvPr id="5" name="îsľiḓé"/>
          <p:cNvSpPr>
            <a:spLocks noGrp="1"/>
          </p:cNvSpPr>
          <p:nvPr>
            <p:ph type="title"/>
          </p:nvPr>
        </p:nvSpPr>
        <p:spPr>
          <a:xfrm>
            <a:off x="2352040" y="2533650"/>
            <a:ext cx="7198995" cy="895350"/>
          </a:xfrm>
        </p:spPr>
        <p:txBody>
          <a:bodyPr>
            <a:normAutofit/>
          </a:bodyPr>
          <a:lstStyle/>
          <a:p>
            <a:r>
              <a:rPr lang="zh-CN" altLang="en-US" sz="3200" dirty="0"/>
              <a:t>项目完成情况</a:t>
            </a:r>
          </a:p>
        </p:txBody>
      </p:sp>
      <p:sp>
        <p:nvSpPr>
          <p:cNvPr id="9" name="ïŝľîḓe"/>
          <p:cNvSpPr txBox="1"/>
          <p:nvPr/>
        </p:nvSpPr>
        <p:spPr>
          <a:xfrm>
            <a:off x="753604" y="1790699"/>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4</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2"/>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ïŝlíḑè"/>
        <p:cNvGrpSpPr/>
        <p:nvPr/>
      </p:nvGrpSpPr>
      <p:grpSpPr>
        <a:xfrm>
          <a:off x="0" y="0"/>
          <a:ext cx="0" cy="0"/>
          <a:chOff x="0" y="0"/>
          <a:chExt cx="0" cy="0"/>
        </a:xfrm>
      </p:grpSpPr>
      <p:grpSp>
        <p:nvGrpSpPr>
          <p:cNvPr id="4" name="Group 3"/>
          <p:cNvGrpSpPr/>
          <p:nvPr>
            <p:custDataLst>
              <p:tags r:id="rId2"/>
            </p:custDataLst>
          </p:nvPr>
        </p:nvGrpSpPr>
        <p:grpSpPr>
          <a:xfrm>
            <a:off x="669925" y="585470"/>
            <a:ext cx="1638300" cy="76200"/>
            <a:chOff x="1055" y="922"/>
            <a:chExt cx="2580" cy="120"/>
          </a:xfrm>
        </p:grpSpPr>
        <p:sp>
          <p:nvSpPr>
            <p:cNvPr id="8" name="矩形 1"/>
            <p:cNvSpPr/>
            <p:nvPr>
              <p:custDataLst>
                <p:tags r:id="rId4"/>
              </p:custDataLst>
            </p:nvPr>
          </p:nvSpPr>
          <p:spPr>
            <a:xfrm flipV="1">
              <a:off x="1055" y="922"/>
              <a:ext cx="2580" cy="12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任意多边形 12"/>
            <p:cNvSpPr/>
            <p:nvPr>
              <p:custDataLst>
                <p:tags r:id="rId5"/>
              </p:custDataLst>
            </p:nvPr>
          </p:nvSpPr>
          <p:spPr>
            <a:xfrm>
              <a:off x="1055" y="922"/>
              <a:ext cx="635" cy="120"/>
            </a:xfrm>
            <a:custGeom>
              <a:avLst/>
              <a:gdLst>
                <a:gd name="connisteX0" fmla="*/ 0 w 2625090"/>
                <a:gd name="connsiteY0" fmla="*/ 0 h 243840"/>
                <a:gd name="connisteX1" fmla="*/ 2625090 w 2625090"/>
                <a:gd name="connsiteY1" fmla="*/ 0 h 243840"/>
                <a:gd name="connisteX2" fmla="*/ 2484755 w 2625090"/>
                <a:gd name="connsiteY2" fmla="*/ 243840 h 243840"/>
                <a:gd name="connisteX3" fmla="*/ 0 w 2625090"/>
                <a:gd name="connsiteY3" fmla="*/ 243840 h 243840"/>
                <a:gd name="connisteX4" fmla="*/ 0 w 2625090"/>
                <a:gd name="connsiteY4" fmla="*/ 0 h 24384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625090" h="243840">
                  <a:moveTo>
                    <a:pt x="0" y="0"/>
                  </a:moveTo>
                  <a:lnTo>
                    <a:pt x="2625090" y="0"/>
                  </a:lnTo>
                  <a:lnTo>
                    <a:pt x="2484755" y="243840"/>
                  </a:lnTo>
                  <a:lnTo>
                    <a:pt x="0" y="24384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9" name="Title 6"/>
          <p:cNvSpPr txBox="1"/>
          <p:nvPr>
            <p:custDataLst>
              <p:tags r:id="rId3"/>
            </p:custDataLst>
          </p:nvPr>
        </p:nvSpPr>
        <p:spPr>
          <a:xfrm>
            <a:off x="669924" y="1"/>
            <a:ext cx="1593850" cy="472440"/>
          </a:xfrm>
          <a:prstGeom prst="rect">
            <a:avLst/>
          </a:prstGeom>
          <a:noFill/>
          <a:ln w="3175">
            <a:noFill/>
            <a:prstDash val="dash"/>
          </a:ln>
          <a:extLst>
            <a:ext uri="{909E8E84-426E-40DD-AFC4-6F175D3DCCD1}">
              <a14:hiddenFill xmlns:a14="http://schemas.microsoft.com/office/drawing/2010/main">
                <a:solidFill>
                  <a:schemeClr val="bg2"/>
                </a:solidFill>
              </a14:hiddenFill>
            </a:ext>
          </a:extLst>
        </p:spPr>
        <p:txBody>
          <a:bodyPr wrap="none" lIns="72000" tIns="36195" rIns="72000" bIns="36195" anchor="t" anchorCtr="0">
            <a:spAutoFit/>
          </a:bodyPr>
          <a:lstStyle>
            <a:lvl1pPr algn="l" defTabSz="913765"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anose="020B0502040204020203" pitchFamily="34" charset="0"/>
              </a:defRPr>
            </a:lvl1pPr>
          </a:lstStyle>
          <a:p>
            <a:pPr marL="0" lvl="0" indent="0" algn="l">
              <a:lnSpc>
                <a:spcPct val="100000"/>
              </a:lnSpc>
              <a:spcBef>
                <a:spcPts val="1000"/>
              </a:spcBef>
              <a:spcAft>
                <a:spcPts val="0"/>
              </a:spcAft>
              <a:buSzPct val="100000"/>
              <a:buNone/>
            </a:pPr>
            <a:r>
              <a:rPr lang="zh-CN" altLang="zh-CN" sz="2600" b="1" spc="251"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需求分析</a:t>
            </a:r>
          </a:p>
        </p:txBody>
      </p:sp>
      <p:sp>
        <p:nvSpPr>
          <p:cNvPr id="5" name="内容占位符 2"/>
          <p:cNvSpPr txBox="1"/>
          <p:nvPr/>
        </p:nvSpPr>
        <p:spPr>
          <a:xfrm>
            <a:off x="481965" y="1708150"/>
            <a:ext cx="6387465" cy="45142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zh-CN" sz="1000" dirty="0">
              <a:solidFill>
                <a:schemeClr val="tx1"/>
              </a:solidFill>
              <a:sym typeface="+mn-ea"/>
            </a:endParaRPr>
          </a:p>
          <a:p>
            <a:r>
              <a:rPr lang="en-US" altLang="zh-CN" sz="1000" dirty="0">
                <a:solidFill>
                  <a:schemeClr val="tx1"/>
                </a:solidFill>
              </a:rPr>
              <a:t>1</a:t>
            </a:r>
            <a:r>
              <a:rPr lang="zh-CN" altLang="en-US" sz="1000" dirty="0">
                <a:solidFill>
                  <a:schemeClr val="tx1"/>
                </a:solidFill>
              </a:rPr>
              <a:t>. 用户注册</a:t>
            </a:r>
          </a:p>
          <a:p>
            <a:r>
              <a:rPr lang="zh-CN" altLang="en-US" sz="1000" dirty="0">
                <a:solidFill>
                  <a:schemeClr val="tx1"/>
                </a:solidFill>
              </a:rPr>
              <a:t>2. 用户登录</a:t>
            </a:r>
          </a:p>
          <a:p>
            <a:r>
              <a:rPr lang="zh-CN" altLang="en-US" sz="1000" dirty="0">
                <a:solidFill>
                  <a:schemeClr val="tx1"/>
                </a:solidFill>
              </a:rPr>
              <a:t>3. （用户需要完成公司认证后才能发起委托）用户发起委托(上传相关文档，用户手册等)</a:t>
            </a:r>
          </a:p>
          <a:p>
            <a:r>
              <a:rPr lang="zh-CN" altLang="en-US" sz="1000" dirty="0">
                <a:solidFill>
                  <a:schemeClr val="tx1"/>
                </a:solidFill>
              </a:rPr>
              <a:t>4. 市场部审核委托 （市场部主管分配给具体工作人员）</a:t>
            </a:r>
          </a:p>
          <a:p>
            <a:r>
              <a:rPr lang="zh-CN" altLang="en-US" sz="1000" dirty="0">
                <a:solidFill>
                  <a:schemeClr val="tx1"/>
                </a:solidFill>
              </a:rPr>
              <a:t>5. 测试部审核委托（测试部主管分配给具体工作人员）</a:t>
            </a:r>
          </a:p>
          <a:p>
            <a:r>
              <a:rPr lang="zh-CN" altLang="en-US" sz="1000" dirty="0">
                <a:solidFill>
                  <a:schemeClr val="tx1"/>
                </a:solidFill>
              </a:rPr>
              <a:t>6. 市场部提出报价</a:t>
            </a:r>
          </a:p>
          <a:p>
            <a:r>
              <a:rPr lang="zh-CN" altLang="en-US" sz="1000" dirty="0">
                <a:solidFill>
                  <a:schemeClr val="tx1"/>
                </a:solidFill>
              </a:rPr>
              <a:t>7. 用户接受报价</a:t>
            </a:r>
          </a:p>
          <a:p>
            <a:r>
              <a:rPr lang="zh-CN" altLang="en-US" sz="1000" dirty="0">
                <a:solidFill>
                  <a:schemeClr val="tx1"/>
                </a:solidFill>
              </a:rPr>
              <a:t>8. 用户不接收受报价，市场部修改后重新提交</a:t>
            </a:r>
          </a:p>
          <a:p>
            <a:r>
              <a:rPr lang="zh-CN" altLang="en-US" sz="1000" dirty="0">
                <a:solidFill>
                  <a:schemeClr val="tx1"/>
                </a:solidFill>
              </a:rPr>
              <a:t>9. 市场部起草合同草稿</a:t>
            </a:r>
          </a:p>
          <a:p>
            <a:r>
              <a:rPr lang="zh-CN" altLang="en-US" sz="1000" dirty="0">
                <a:solidFill>
                  <a:schemeClr val="tx1"/>
                </a:solidFill>
              </a:rPr>
              <a:t>10. 市场部和用户修改确认合同草稿</a:t>
            </a:r>
          </a:p>
          <a:p>
            <a:r>
              <a:rPr lang="zh-CN" altLang="en-US" sz="1000" dirty="0">
                <a:solidFill>
                  <a:schemeClr val="tx1"/>
                </a:solidFill>
              </a:rPr>
              <a:t>11. 测试部主管为该委托分配项目编号（2022.6.6新增）</a:t>
            </a:r>
          </a:p>
          <a:p>
            <a:pPr lvl="1"/>
            <a:endParaRPr lang="zh-CN" altLang="en-US" sz="900" dirty="0">
              <a:solidFill>
                <a:schemeClr val="tx1"/>
              </a:solidFill>
            </a:endParaRPr>
          </a:p>
          <a:p>
            <a:endParaRPr lang="zh-CN" altLang="zh-CN" sz="900" dirty="0">
              <a:solidFill>
                <a:schemeClr val="tx1"/>
              </a:solidFill>
            </a:endParaRPr>
          </a:p>
          <a:p>
            <a:endParaRPr lang="zh-CN" altLang="zh-CN" sz="900" dirty="0">
              <a:solidFill>
                <a:schemeClr val="tx1"/>
              </a:solidFill>
              <a:sym typeface="+mn-ea"/>
            </a:endParaRPr>
          </a:p>
          <a:p>
            <a:endParaRPr lang="zh-CN" altLang="zh-CN" sz="900" dirty="0">
              <a:solidFill>
                <a:schemeClr val="tx1"/>
              </a:solidFill>
            </a:endParaRPr>
          </a:p>
          <a:p>
            <a:endParaRPr lang="en-US" altLang="zh-CN" sz="900" dirty="0">
              <a:solidFill>
                <a:schemeClr val="tx1"/>
              </a:solidFill>
            </a:endParaRPr>
          </a:p>
          <a:p>
            <a:endParaRPr lang="en-US" altLang="zh-CN" sz="900" dirty="0">
              <a:solidFill>
                <a:schemeClr val="tx1"/>
              </a:solidFill>
            </a:endParaRPr>
          </a:p>
        </p:txBody>
      </p:sp>
      <p:sp>
        <p:nvSpPr>
          <p:cNvPr id="6" name="文本框 5"/>
          <p:cNvSpPr txBox="1"/>
          <p:nvPr/>
        </p:nvSpPr>
        <p:spPr>
          <a:xfrm>
            <a:off x="5932170" y="1708150"/>
            <a:ext cx="6211570" cy="3984625"/>
          </a:xfrm>
          <a:prstGeom prst="rect">
            <a:avLst/>
          </a:prstGeom>
          <a:noFill/>
        </p:spPr>
        <p:txBody>
          <a:bodyPr wrap="none" rtlCol="0">
            <a:spAutoFit/>
          </a:bodyPr>
          <a:lstStyle/>
          <a:p>
            <a:pPr marL="228600" indent="-228600" algn="l">
              <a:lnSpc>
                <a:spcPct val="90000"/>
              </a:lnSpc>
              <a:spcBef>
                <a:spcPts val="1000"/>
              </a:spcBef>
              <a:buClrTx/>
              <a:buSzTx/>
              <a:buFont typeface="Arial" panose="020B0604020202020204" pitchFamily="34" charset="0"/>
              <a:buChar char="•"/>
            </a:pPr>
            <a:r>
              <a:rPr lang="zh-CN" altLang="en-US" sz="1000" dirty="0">
                <a:solidFill>
                  <a:schemeClr val="tx1"/>
                </a:solidFill>
                <a:sym typeface="+mn-ea"/>
              </a:rPr>
              <a:t>12. 用户上传样品信息</a:t>
            </a:r>
            <a:endParaRPr lang="zh-CN" altLang="en-US" sz="1000" dirty="0">
              <a:solidFill>
                <a:schemeClr val="tx1"/>
              </a:solidFill>
            </a:endParaRPr>
          </a:p>
          <a:p>
            <a:pPr marL="228600" indent="-228600" algn="l">
              <a:lnSpc>
                <a:spcPct val="90000"/>
              </a:lnSpc>
              <a:spcBef>
                <a:spcPts val="1000"/>
              </a:spcBef>
              <a:buClrTx/>
              <a:buSzTx/>
              <a:buFont typeface="Arial" panose="020B0604020202020204" pitchFamily="34" charset="0"/>
              <a:buChar char="•"/>
            </a:pPr>
            <a:r>
              <a:rPr lang="zh-CN" altLang="en-US" sz="1000" dirty="0">
                <a:solidFill>
                  <a:schemeClr val="tx1"/>
                </a:solidFill>
                <a:sym typeface="+mn-ea"/>
              </a:rPr>
              <a:t>13. 测试部或市场部验收样品，主要是检查样品实体和用户上传的信息、发起委托时提交的文档是否符合</a:t>
            </a:r>
            <a:endParaRPr lang="zh-CN" altLang="en-US" sz="1000" dirty="0">
              <a:solidFill>
                <a:schemeClr val="tx1"/>
              </a:solidFill>
            </a:endParaRPr>
          </a:p>
          <a:p>
            <a:pPr marL="228600" indent="-228600" algn="l">
              <a:lnSpc>
                <a:spcPct val="90000"/>
              </a:lnSpc>
              <a:spcBef>
                <a:spcPts val="1000"/>
              </a:spcBef>
              <a:buClrTx/>
              <a:buSzTx/>
              <a:buFont typeface="Arial" panose="020B0604020202020204" pitchFamily="34" charset="0"/>
              <a:buChar char="•"/>
            </a:pPr>
            <a:r>
              <a:rPr lang="zh-CN" altLang="en-US" sz="1000" dirty="0">
                <a:solidFill>
                  <a:schemeClr val="tx1"/>
                </a:solidFill>
                <a:sym typeface="+mn-ea"/>
              </a:rPr>
              <a:t>14. 测试部编写测试方案</a:t>
            </a:r>
            <a:endParaRPr lang="zh-CN" altLang="en-US" sz="1000" dirty="0">
              <a:solidFill>
                <a:schemeClr val="tx1"/>
              </a:solidFill>
            </a:endParaRPr>
          </a:p>
          <a:p>
            <a:pPr marL="228600" indent="-228600" algn="l">
              <a:lnSpc>
                <a:spcPct val="90000"/>
              </a:lnSpc>
              <a:spcBef>
                <a:spcPts val="1000"/>
              </a:spcBef>
              <a:buClrTx/>
              <a:buSzTx/>
              <a:buFont typeface="Arial" panose="020B0604020202020204" pitchFamily="34" charset="0"/>
              <a:buChar char="•"/>
            </a:pPr>
            <a:r>
              <a:rPr lang="zh-CN" altLang="en-US" sz="1000" dirty="0">
                <a:solidFill>
                  <a:schemeClr val="tx1"/>
                </a:solidFill>
                <a:sym typeface="+mn-ea"/>
              </a:rPr>
              <a:t>15. 质量部任意一个人审核测试方案</a:t>
            </a:r>
            <a:endParaRPr lang="zh-CN" altLang="en-US" sz="1000" dirty="0">
              <a:solidFill>
                <a:schemeClr val="tx1"/>
              </a:solidFill>
            </a:endParaRPr>
          </a:p>
          <a:p>
            <a:pPr marL="228600" indent="-228600" algn="l">
              <a:lnSpc>
                <a:spcPct val="90000"/>
              </a:lnSpc>
              <a:spcBef>
                <a:spcPts val="1000"/>
              </a:spcBef>
              <a:buClrTx/>
              <a:buSzTx/>
              <a:buFont typeface="Arial" panose="020B0604020202020204" pitchFamily="34" charset="0"/>
              <a:buChar char="•"/>
            </a:pPr>
            <a:r>
              <a:rPr lang="zh-CN" altLang="en-US" sz="1000" dirty="0">
                <a:solidFill>
                  <a:schemeClr val="tx1"/>
                </a:solidFill>
                <a:sym typeface="+mn-ea"/>
              </a:rPr>
              <a:t>16. 测试部进行测试，填写测试文档</a:t>
            </a:r>
            <a:endParaRPr lang="zh-CN" altLang="en-US" sz="1000" dirty="0">
              <a:solidFill>
                <a:schemeClr val="tx1"/>
              </a:solidFill>
            </a:endParaRPr>
          </a:p>
          <a:p>
            <a:pPr marL="228600" indent="-228600" algn="l">
              <a:lnSpc>
                <a:spcPct val="90000"/>
              </a:lnSpc>
              <a:spcBef>
                <a:spcPts val="1000"/>
              </a:spcBef>
              <a:buClrTx/>
              <a:buSzTx/>
              <a:buFont typeface="Arial" panose="020B0604020202020204" pitchFamily="34" charset="0"/>
              <a:buChar char="•"/>
            </a:pPr>
            <a:r>
              <a:rPr lang="zh-CN" altLang="en-US" sz="1000" dirty="0">
                <a:solidFill>
                  <a:schemeClr val="tx1"/>
                </a:solidFill>
                <a:sym typeface="+mn-ea"/>
              </a:rPr>
              <a:t>17. 测试部主管审核测试报告</a:t>
            </a:r>
            <a:endParaRPr lang="zh-CN" altLang="en-US" sz="1000" dirty="0">
              <a:solidFill>
                <a:schemeClr val="tx1"/>
              </a:solidFill>
            </a:endParaRPr>
          </a:p>
          <a:p>
            <a:pPr marL="228600" indent="-228600" algn="l">
              <a:lnSpc>
                <a:spcPct val="90000"/>
              </a:lnSpc>
              <a:spcBef>
                <a:spcPts val="1000"/>
              </a:spcBef>
              <a:buClrTx/>
              <a:buSzTx/>
              <a:buFont typeface="Arial" panose="020B0604020202020204" pitchFamily="34" charset="0"/>
              <a:buChar char="•"/>
            </a:pPr>
            <a:r>
              <a:rPr lang="zh-CN" altLang="en-US" sz="1000" dirty="0">
                <a:solidFill>
                  <a:schemeClr val="tx1"/>
                </a:solidFill>
                <a:sym typeface="+mn-ea"/>
              </a:rPr>
              <a:t>18. 用户审核测试报告</a:t>
            </a:r>
            <a:endParaRPr lang="zh-CN" altLang="en-US" sz="1000" dirty="0">
              <a:solidFill>
                <a:schemeClr val="tx1"/>
              </a:solidFill>
            </a:endParaRPr>
          </a:p>
          <a:p>
            <a:pPr marL="228600" indent="-228600" algn="l">
              <a:lnSpc>
                <a:spcPct val="90000"/>
              </a:lnSpc>
              <a:spcBef>
                <a:spcPts val="1000"/>
              </a:spcBef>
              <a:buClrTx/>
              <a:buSzTx/>
              <a:buFont typeface="Arial" panose="020B0604020202020204" pitchFamily="34" charset="0"/>
              <a:buChar char="•"/>
            </a:pPr>
            <a:r>
              <a:rPr lang="zh-CN" altLang="en-US" sz="1000" dirty="0">
                <a:solidFill>
                  <a:schemeClr val="tx1"/>
                </a:solidFill>
                <a:sym typeface="+mn-ea"/>
              </a:rPr>
              <a:t>19. 授权签字人批准发布报告(《测试报告检查表》) {授权签字人是经过后台授权的特定人物，一般是</a:t>
            </a:r>
            <a:endParaRPr lang="zh-CN" altLang="en-US" sz="1000" dirty="0">
              <a:solidFill>
                <a:schemeClr val="tx1"/>
              </a:solidFill>
            </a:endParaRPr>
          </a:p>
          <a:p>
            <a:pPr marL="228600" indent="-228600" algn="l">
              <a:lnSpc>
                <a:spcPct val="90000"/>
              </a:lnSpc>
              <a:spcBef>
                <a:spcPts val="1000"/>
              </a:spcBef>
              <a:buClrTx/>
              <a:buSzTx/>
              <a:buFont typeface="Arial" panose="020B0604020202020204" pitchFamily="34" charset="0"/>
              <a:buChar char="•"/>
            </a:pPr>
            <a:r>
              <a:rPr lang="zh-CN" altLang="en-US" sz="1000" dirty="0">
                <a:solidFill>
                  <a:schemeClr val="tx1"/>
                </a:solidFill>
                <a:sym typeface="+mn-ea"/>
              </a:rPr>
              <a:t>某个部门的主管，但任意部门的主管不一定是授权签字人}</a:t>
            </a:r>
            <a:endParaRPr lang="zh-CN" altLang="en-US" sz="1000" dirty="0">
              <a:solidFill>
                <a:schemeClr val="tx1"/>
              </a:solidFill>
            </a:endParaRPr>
          </a:p>
          <a:p>
            <a:pPr marL="228600" indent="-228600" algn="l">
              <a:lnSpc>
                <a:spcPct val="90000"/>
              </a:lnSpc>
              <a:spcBef>
                <a:spcPts val="1000"/>
              </a:spcBef>
              <a:buClrTx/>
              <a:buSzTx/>
              <a:buFont typeface="Arial" panose="020B0604020202020204" pitchFamily="34" charset="0"/>
              <a:buChar char="•"/>
            </a:pPr>
            <a:r>
              <a:rPr lang="zh-CN" altLang="en-US" sz="1000" dirty="0">
                <a:solidFill>
                  <a:schemeClr val="tx1"/>
                </a:solidFill>
                <a:sym typeface="+mn-ea"/>
              </a:rPr>
              <a:t>20. 测试部归档（后台对此次测试的过程信息归档，比如样品源代码(如果有的话)，测试样例等[大致可</a:t>
            </a:r>
            <a:endParaRPr lang="zh-CN" altLang="en-US" sz="1000" dirty="0">
              <a:solidFill>
                <a:schemeClr val="tx1"/>
              </a:solidFill>
            </a:endParaRPr>
          </a:p>
          <a:p>
            <a:pPr marL="228600" indent="-228600" algn="l">
              <a:lnSpc>
                <a:spcPct val="90000"/>
              </a:lnSpc>
              <a:spcBef>
                <a:spcPts val="1000"/>
              </a:spcBef>
              <a:buClrTx/>
              <a:buSzTx/>
              <a:buFont typeface="Arial" panose="020B0604020202020204" pitchFamily="34" charset="0"/>
              <a:buChar char="•"/>
            </a:pPr>
            <a:r>
              <a:rPr lang="zh-CN" altLang="en-US" sz="1000" dirty="0">
                <a:solidFill>
                  <a:schemeClr val="tx1"/>
                </a:solidFill>
                <a:sym typeface="+mn-ea"/>
              </a:rPr>
              <a:t>以认为是测试过程中填的那些测试文档]）</a:t>
            </a:r>
            <a:endParaRPr lang="zh-CN" altLang="en-US" sz="1000" dirty="0">
              <a:solidFill>
                <a:schemeClr val="tx1"/>
              </a:solidFill>
            </a:endParaRPr>
          </a:p>
          <a:p>
            <a:pPr marL="228600" indent="-228600" algn="l">
              <a:lnSpc>
                <a:spcPct val="90000"/>
              </a:lnSpc>
              <a:spcBef>
                <a:spcPts val="1000"/>
              </a:spcBef>
              <a:buClrTx/>
              <a:buSzTx/>
              <a:buFont typeface="Arial" panose="020B0604020202020204" pitchFamily="34" charset="0"/>
              <a:buChar char="•"/>
            </a:pPr>
            <a:r>
              <a:rPr lang="zh-CN" altLang="en-US" sz="1000" dirty="0">
                <a:solidFill>
                  <a:schemeClr val="tx1"/>
                </a:solidFill>
                <a:sym typeface="+mn-ea"/>
              </a:rPr>
              <a:t>21. 市场部发布报告给用户</a:t>
            </a:r>
            <a:endParaRPr lang="zh-CN" altLang="en-US" sz="1000" dirty="0">
              <a:solidFill>
                <a:schemeClr val="tx1"/>
              </a:solidFill>
            </a:endParaRPr>
          </a:p>
          <a:p>
            <a:pPr marL="228600" indent="-228600" algn="l">
              <a:lnSpc>
                <a:spcPct val="90000"/>
              </a:lnSpc>
              <a:spcBef>
                <a:spcPts val="1000"/>
              </a:spcBef>
              <a:buClrTx/>
              <a:buSzTx/>
              <a:buFont typeface="Arial" panose="020B0604020202020204" pitchFamily="34" charset="0"/>
              <a:buChar char="•"/>
            </a:pPr>
            <a:r>
              <a:rPr lang="zh-CN" altLang="en-US" sz="1000" dirty="0">
                <a:solidFill>
                  <a:schemeClr val="tx1"/>
                </a:solidFill>
                <a:sym typeface="+mn-ea"/>
              </a:rPr>
              <a:t>22. 用户确认（如果一直没确认过段时间会自动确认）</a:t>
            </a:r>
            <a:endParaRPr lang="zh-CN" altLang="en-US" sz="1000" dirty="0">
              <a:solidFill>
                <a:schemeClr val="tx1"/>
              </a:solidFill>
            </a:endParaRPr>
          </a:p>
          <a:p>
            <a:pPr algn="l"/>
            <a:endParaRPr lang="zh-CN" altLang="en-US" dirty="0">
              <a:solidFill>
                <a:schemeClr val="tx1"/>
              </a:solidFill>
            </a:endParaRPr>
          </a:p>
          <a:p>
            <a:endParaRPr lang="zh-CN" altLang="en-US">
              <a:solidFill>
                <a:schemeClr val="tx1"/>
              </a:solidFill>
            </a:endParaRPr>
          </a:p>
        </p:txBody>
      </p:sp>
      <p:sp>
        <p:nvSpPr>
          <p:cNvPr id="7" name="文本框 6"/>
          <p:cNvSpPr txBox="1"/>
          <p:nvPr/>
        </p:nvSpPr>
        <p:spPr>
          <a:xfrm>
            <a:off x="597535" y="1339850"/>
            <a:ext cx="1783080" cy="368300"/>
          </a:xfrm>
          <a:prstGeom prst="rect">
            <a:avLst/>
          </a:prstGeom>
          <a:noFill/>
        </p:spPr>
        <p:txBody>
          <a:bodyPr wrap="none" rtlCol="0" anchor="t">
            <a:spAutoFit/>
          </a:bodyPr>
          <a:lstStyle/>
          <a:p>
            <a:r>
              <a:rPr lang="zh-CN" altLang="en-US" dirty="0">
                <a:solidFill>
                  <a:schemeClr val="tx1"/>
                </a:solidFill>
                <a:sym typeface="+mn-ea"/>
              </a:rPr>
              <a:t>主要流程如下：</a:t>
            </a:r>
          </a:p>
        </p:txBody>
      </p:sp>
      <p:sp>
        <p:nvSpPr>
          <p:cNvPr id="3" name="灯片编号占位符 2"/>
          <p:cNvSpPr>
            <a:spLocks noGrp="1"/>
          </p:cNvSpPr>
          <p:nvPr>
            <p:ph type="sldNum" sz="quarter" idx="12"/>
          </p:nvPr>
        </p:nvSpPr>
        <p:spPr/>
        <p:txBody>
          <a:bodyPr/>
          <a:lstStyle/>
          <a:p>
            <a:fld id="{5DD3DB80-B894-403A-B48E-6FDC1A72010E}" type="slidenum">
              <a:rPr lang="zh-CN" altLang="en-US" smtClean="0"/>
              <a:t>17</a:t>
            </a:fld>
            <a:endParaRPr lang="zh-CN" altLang="en-US"/>
          </a:p>
        </p:txBody>
      </p:sp>
    </p:spTree>
    <p:custDataLst>
      <p:tags r:id="rId1"/>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3"/>
          <p:cNvSpPr txBox="1"/>
          <p:nvPr>
            <p:custDataLst>
              <p:tags r:id="rId2"/>
            </p:custDataLst>
          </p:nvPr>
        </p:nvSpPr>
        <p:spPr>
          <a:xfrm>
            <a:off x="396240" y="396240"/>
            <a:ext cx="10972800" cy="762000"/>
          </a:xfrm>
          <a:prstGeom prst="rect">
            <a:avLst/>
          </a:prstGeom>
          <a:noFill/>
        </p:spPr>
        <p:txBody>
          <a:bodyPr wrap="square" lIns="63500" tIns="25400" rIns="63500" bIns="25400" rtlCol="0" anchor="t" anchorCtr="0">
            <a:normAutofit/>
          </a:bodyPr>
          <a:lstStyle/>
          <a:p>
            <a:pPr marL="0" indent="0" algn="l">
              <a:lnSpc>
                <a:spcPct val="100000"/>
              </a:lnSpc>
              <a:spcBef>
                <a:spcPts val="0"/>
              </a:spcBef>
              <a:spcAft>
                <a:spcPts val="0"/>
              </a:spcAft>
              <a:buSzPct val="100000"/>
              <a:buNone/>
            </a:pPr>
            <a:r>
              <a:rPr lang="zh-CN" altLang="en-US" sz="4000" b="1" spc="240">
                <a:solidFill>
                  <a:schemeClr val="accent1"/>
                </a:solidFill>
                <a:uFillTx/>
                <a:latin typeface="微软雅黑" panose="020B0503020204020204" pitchFamily="34" charset="-122"/>
                <a:ea typeface="微软雅黑" panose="020B0503020204020204" pitchFamily="34" charset="-122"/>
              </a:rPr>
              <a:t>功能流程图</a:t>
            </a:r>
          </a:p>
        </p:txBody>
      </p:sp>
      <p:sp>
        <p:nvSpPr>
          <p:cNvPr id="3" name="矩形 5"/>
          <p:cNvSpPr/>
          <p:nvPr>
            <p:custDataLst>
              <p:tags r:id="rId3"/>
            </p:custDataLst>
          </p:nvPr>
        </p:nvSpPr>
        <p:spPr>
          <a:xfrm>
            <a:off x="0" y="1828800"/>
            <a:ext cx="12192000" cy="50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a:solidFill>
                <a:schemeClr val="lt1"/>
              </a:solidFill>
              <a:latin typeface="微软雅黑" panose="020B0503020204020204" pitchFamily="34" charset="-122"/>
              <a:ea typeface="微软雅黑" panose="020B0503020204020204" pitchFamily="34" charset="-122"/>
              <a:sym typeface="Arial" panose="020B0604020202020204" pitchFamily="34" charset="0"/>
            </a:endParaRPr>
          </a:p>
        </p:txBody>
      </p:sp>
      <p:pic>
        <p:nvPicPr>
          <p:cNvPr id="8" name="图片 4"/>
          <p:cNvPicPr>
            <a:picLocks noChangeAspect="1"/>
          </p:cNvPicPr>
          <p:nvPr>
            <p:custDataLst>
              <p:tags r:id="rId4"/>
            </p:custDataLst>
          </p:nvPr>
        </p:nvPicPr>
        <p:blipFill rotWithShape="1">
          <a:blip r:embed="rId7"/>
          <a:srcRect l="1529" r="1529"/>
          <a:stretch>
            <a:fillRect/>
          </a:stretch>
        </p:blipFill>
        <p:spPr>
          <a:xfrm>
            <a:off x="609600" y="2133600"/>
            <a:ext cx="4914900" cy="4114914"/>
          </a:xfrm>
          <a:custGeom>
            <a:avLst/>
            <a:gdLst/>
            <a:ahLst/>
            <a:cxnLst>
              <a:cxn ang="3">
                <a:pos x="hc" y="t"/>
              </a:cxn>
              <a:cxn ang="cd2">
                <a:pos x="l" y="vc"/>
              </a:cxn>
              <a:cxn ang="cd4">
                <a:pos x="hc" y="b"/>
              </a:cxn>
              <a:cxn ang="0">
                <a:pos x="r" y="vc"/>
              </a:cxn>
            </a:cxnLst>
            <a:rect l="l" t="t" r="r" b="b"/>
            <a:pathLst>
              <a:path w="8400" h="6000">
                <a:moveTo>
                  <a:pt x="0" y="0"/>
                </a:moveTo>
                <a:lnTo>
                  <a:pt x="8400" y="0"/>
                </a:lnTo>
                <a:lnTo>
                  <a:pt x="8400" y="6000"/>
                </a:lnTo>
                <a:lnTo>
                  <a:pt x="0" y="6000"/>
                </a:lnTo>
                <a:lnTo>
                  <a:pt x="0" y="0"/>
                </a:lnTo>
                <a:close/>
              </a:path>
            </a:pathLst>
          </a:custGeom>
        </p:spPr>
      </p:pic>
      <p:pic>
        <p:nvPicPr>
          <p:cNvPr id="9" name="图片 6"/>
          <p:cNvPicPr>
            <a:picLocks noChangeAspect="1"/>
          </p:cNvPicPr>
          <p:nvPr>
            <p:custDataLst>
              <p:tags r:id="rId5"/>
            </p:custDataLst>
          </p:nvPr>
        </p:nvPicPr>
        <p:blipFill rotWithShape="1">
          <a:blip r:embed="rId8"/>
          <a:srcRect l="1544" r="1544"/>
          <a:stretch>
            <a:fillRect/>
          </a:stretch>
        </p:blipFill>
        <p:spPr>
          <a:xfrm>
            <a:off x="5981700" y="2133600"/>
            <a:ext cx="5600700" cy="4114914"/>
          </a:xfrm>
          <a:custGeom>
            <a:avLst/>
            <a:gdLst/>
            <a:ahLst/>
            <a:cxnLst>
              <a:cxn ang="3">
                <a:pos x="hc" y="t"/>
              </a:cxn>
              <a:cxn ang="cd2">
                <a:pos x="l" y="vc"/>
              </a:cxn>
              <a:cxn ang="cd4">
                <a:pos x="hc" y="b"/>
              </a:cxn>
              <a:cxn ang="0">
                <a:pos x="r" y="vc"/>
              </a:cxn>
            </a:cxnLst>
            <a:rect l="l" t="t" r="r" b="b"/>
            <a:pathLst>
              <a:path w="8160" h="6000">
                <a:moveTo>
                  <a:pt x="0" y="0"/>
                </a:moveTo>
                <a:lnTo>
                  <a:pt x="8160" y="0"/>
                </a:lnTo>
                <a:lnTo>
                  <a:pt x="8160" y="6000"/>
                </a:lnTo>
                <a:lnTo>
                  <a:pt x="0" y="6000"/>
                </a:lnTo>
                <a:lnTo>
                  <a:pt x="0" y="0"/>
                </a:lnTo>
                <a:close/>
              </a:path>
            </a:pathLst>
          </a:custGeom>
        </p:spPr>
      </p:pic>
      <p:sp>
        <p:nvSpPr>
          <p:cNvPr id="4" name="灯片编号占位符 3"/>
          <p:cNvSpPr>
            <a:spLocks noGrp="1"/>
          </p:cNvSpPr>
          <p:nvPr>
            <p:ph type="sldNum" sz="quarter" idx="12"/>
          </p:nvPr>
        </p:nvSpPr>
        <p:spPr/>
        <p:txBody>
          <a:bodyPr/>
          <a:lstStyle/>
          <a:p>
            <a:fld id="{5DD3DB80-B894-403A-B48E-6FDC1A72010E}" type="slidenum">
              <a:rPr lang="zh-CN" altLang="en-US" smtClean="0"/>
              <a:t>18</a:t>
            </a:fld>
            <a:endParaRPr lang="zh-CN" altLang="en-US"/>
          </a:p>
        </p:txBody>
      </p:sp>
    </p:spTree>
    <p:custDataLst>
      <p:tags r:id="rId1"/>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ïŝlíḑè"/>
        <p:cNvGrpSpPr/>
        <p:nvPr/>
      </p:nvGrpSpPr>
      <p:grpSpPr>
        <a:xfrm>
          <a:off x="0" y="0"/>
          <a:ext cx="0" cy="0"/>
          <a:chOff x="0" y="0"/>
          <a:chExt cx="0" cy="0"/>
        </a:xfrm>
      </p:grpSpPr>
      <p:sp>
        <p:nvSpPr>
          <p:cNvPr id="2" name="ïṣ1îḑe"/>
          <p:cNvSpPr>
            <a:spLocks noGrp="1"/>
          </p:cNvSpPr>
          <p:nvPr>
            <p:ph type="title"/>
          </p:nvPr>
        </p:nvSpPr>
        <p:spPr/>
        <p:txBody>
          <a:bodyPr>
            <a:normAutofit/>
          </a:bodyPr>
          <a:lstStyle/>
          <a:p>
            <a:r>
              <a:rPr lang="zh-CN" altLang="en-US" spc="240">
                <a:solidFill>
                  <a:schemeClr val="accent1"/>
                </a:solidFill>
                <a:uFillTx/>
                <a:latin typeface="微软雅黑" panose="020B0503020204020204" pitchFamily="34" charset="-122"/>
                <a:ea typeface="微软雅黑" panose="020B0503020204020204" pitchFamily="34" charset="-122"/>
                <a:sym typeface="+mn-ea"/>
              </a:rPr>
              <a:t>架构设计</a:t>
            </a:r>
            <a:endParaRPr lang="zh-CN" altLang="en-US"/>
          </a:p>
        </p:txBody>
      </p:sp>
      <p:sp>
        <p:nvSpPr>
          <p:cNvPr id="4" name="íṧḻíďè"/>
          <p:cNvSpPr>
            <a:spLocks noGrp="1"/>
          </p:cNvSpPr>
          <p:nvPr>
            <p:ph type="sldNum" sz="quarter" idx="12"/>
          </p:nvPr>
        </p:nvSpPr>
        <p:spPr>
          <a:xfrm>
            <a:off x="8656319" y="6248083"/>
            <a:ext cx="2909888" cy="206381"/>
          </a:xfrm>
        </p:spPr>
        <p:txBody>
          <a:bodyPr/>
          <a:lstStyle/>
          <a:p>
            <a:fld id="{5DD3DB80-B894-403A-B48E-6FDC1A72010E}" type="slidenum">
              <a:rPr lang="zh-CN" altLang="en-US" smtClean="0"/>
              <a:t>19</a:t>
            </a:fld>
            <a:endParaRPr lang="zh-CN" altLang="en-US"/>
          </a:p>
        </p:txBody>
      </p:sp>
      <p:sp>
        <p:nvSpPr>
          <p:cNvPr id="5" name="内容占位符 2"/>
          <p:cNvSpPr txBox="1"/>
          <p:nvPr/>
        </p:nvSpPr>
        <p:spPr>
          <a:xfrm>
            <a:off x="443230" y="1088390"/>
            <a:ext cx="10960735" cy="45142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1600" spc="180" dirty="0">
                <a:ln w="3175">
                  <a:noFill/>
                  <a:prstDash val="dash"/>
                </a:ln>
                <a:solidFill>
                  <a:schemeClr val="dk1">
                    <a:lumMod val="75000"/>
                    <a:lumOff val="25000"/>
                  </a:schemeClr>
                </a:solidFill>
                <a:effectLst/>
                <a:uFillTx/>
                <a:latin typeface="微软雅黑" panose="020B0503020204020204" pitchFamily="34" charset="-122"/>
                <a:ea typeface="微软雅黑" panose="020B0503020204020204" pitchFamily="34" charset="-122"/>
                <a:cs typeface="微软雅黑" panose="020B0503020204020204" pitchFamily="34" charset="-122"/>
                <a:sym typeface="+mn-ea"/>
              </a:rPr>
              <a:t>逻辑架构图如下：</a:t>
            </a:r>
          </a:p>
          <a:p>
            <a:endParaRPr lang="zh-CN" altLang="zh-CN" sz="2400" dirty="0"/>
          </a:p>
          <a:p>
            <a:endParaRPr lang="en-US" altLang="zh-CN" sz="2400" dirty="0"/>
          </a:p>
          <a:p>
            <a:endParaRPr lang="en-US" altLang="zh-CN" sz="2400" dirty="0"/>
          </a:p>
        </p:txBody>
      </p:sp>
      <p:pic>
        <p:nvPicPr>
          <p:cNvPr id="6" name="图片 5" descr="系统逻辑架构图.drawio"/>
          <p:cNvPicPr>
            <a:picLocks noChangeAspect="1"/>
          </p:cNvPicPr>
          <p:nvPr>
            <p:custDataLst>
              <p:tags r:id="rId3"/>
            </p:custDataLst>
          </p:nvPr>
        </p:nvPicPr>
        <p:blipFill>
          <a:blip r:embed="rId5"/>
          <a:stretch>
            <a:fillRect/>
          </a:stretch>
        </p:blipFill>
        <p:spPr>
          <a:xfrm>
            <a:off x="3033395" y="1303655"/>
            <a:ext cx="7343775" cy="5057775"/>
          </a:xfrm>
          <a:prstGeom prst="rect">
            <a:avLst/>
          </a:prstGeom>
        </p:spPr>
      </p:pic>
    </p:spTree>
    <p:custDataLst>
      <p:tags r:id="rId2"/>
    </p:custData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îṡlîḑê"/>
        <p:cNvGrpSpPr/>
        <p:nvPr/>
      </p:nvGrpSpPr>
      <p:grpSpPr>
        <a:xfrm>
          <a:off x="0" y="0"/>
          <a:ext cx="0" cy="0"/>
          <a:chOff x="0" y="0"/>
          <a:chExt cx="0" cy="0"/>
        </a:xfrm>
      </p:grpSpPr>
      <p:sp>
        <p:nvSpPr>
          <p:cNvPr id="3" name="任意多边形: 形状 6"/>
          <p:cNvSpPr/>
          <p:nvPr>
            <p:custDataLst>
              <p:tags r:id="rId3"/>
            </p:custDataLst>
          </p:nvPr>
        </p:nvSpPr>
        <p:spPr>
          <a:xfrm>
            <a:off x="2180632" y="2517639"/>
            <a:ext cx="1876335" cy="1876335"/>
          </a:xfrm>
          <a:custGeom>
            <a:avLst/>
            <a:gdLst>
              <a:gd name="connsiteX0" fmla="*/ 0 w 1291214"/>
              <a:gd name="connsiteY0" fmla="*/ 0 h 1291214"/>
              <a:gd name="connsiteX1" fmla="*/ 1291214 w 1291214"/>
              <a:gd name="connsiteY1" fmla="*/ 1291214 h 1291214"/>
              <a:gd name="connsiteX2" fmla="*/ 0 w 1291214"/>
              <a:gd name="connsiteY2" fmla="*/ 1291214 h 1291214"/>
            </a:gdLst>
            <a:ahLst/>
            <a:cxnLst>
              <a:cxn ang="0">
                <a:pos x="connsiteX0" y="connsiteY0"/>
              </a:cxn>
              <a:cxn ang="0">
                <a:pos x="connsiteX1" y="connsiteY1"/>
              </a:cxn>
              <a:cxn ang="0">
                <a:pos x="connsiteX2" y="connsiteY2"/>
              </a:cxn>
            </a:cxnLst>
            <a:rect l="l" t="t" r="r" b="b"/>
            <a:pathLst>
              <a:path w="1291214" h="1291214">
                <a:moveTo>
                  <a:pt x="0" y="0"/>
                </a:moveTo>
                <a:cubicBezTo>
                  <a:pt x="713118" y="0"/>
                  <a:pt x="1291214" y="578096"/>
                  <a:pt x="1291214" y="1291214"/>
                </a:cubicBezTo>
                <a:lnTo>
                  <a:pt x="0" y="1291214"/>
                </a:ln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47" name="文本框 61"/>
          <p:cNvSpPr txBox="1"/>
          <p:nvPr>
            <p:custDataLst>
              <p:tags r:id="rId4"/>
            </p:custDataLst>
          </p:nvPr>
        </p:nvSpPr>
        <p:spPr>
          <a:xfrm>
            <a:off x="6161461" y="765124"/>
            <a:ext cx="4719264" cy="691752"/>
          </a:xfrm>
          <a:prstGeom prst="rect">
            <a:avLst/>
          </a:prstGeom>
          <a:noFill/>
        </p:spPr>
        <p:txBody>
          <a:bodyPr wrap="square" rtlCol="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a:lnSpc>
                <a:spcPct val="100000"/>
              </a:lnSpc>
              <a:spcBef>
                <a:spcPts val="0"/>
              </a:spcBef>
              <a:spcAft>
                <a:spcPts val="800"/>
              </a:spcAft>
              <a:buSzPct val="100000"/>
            </a:pPr>
            <a:r>
              <a:rPr lang="zh-CN" altLang="en-US" sz="3000" spc="280" dirty="0">
                <a:solidFill>
                  <a:schemeClr val="tx1">
                    <a:lumMod val="75000"/>
                    <a:lumOff val="25000"/>
                  </a:schemeClr>
                </a:solidFill>
                <a:latin typeface="Arial" panose="020B0604020202020204" pitchFamily="34" charset="0"/>
                <a:ea typeface="微软雅黑" panose="020B0503020204020204" pitchFamily="34" charset="-122"/>
                <a:sym typeface="+mn-ea"/>
              </a:rPr>
              <a:t>项目任务及研发过程</a:t>
            </a:r>
          </a:p>
        </p:txBody>
      </p:sp>
      <p:sp>
        <p:nvSpPr>
          <p:cNvPr id="48" name="椭圆 47"/>
          <p:cNvSpPr/>
          <p:nvPr>
            <p:custDataLst>
              <p:tags r:id="rId5"/>
            </p:custDataLst>
          </p:nvPr>
        </p:nvSpPr>
        <p:spPr>
          <a:xfrm>
            <a:off x="5935064" y="1068468"/>
            <a:ext cx="134754" cy="13475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文本框 61"/>
          <p:cNvSpPr txBox="1"/>
          <p:nvPr>
            <p:custDataLst>
              <p:tags r:id="rId6"/>
            </p:custDataLst>
          </p:nvPr>
        </p:nvSpPr>
        <p:spPr>
          <a:xfrm>
            <a:off x="6161461" y="1692324"/>
            <a:ext cx="4719264" cy="691752"/>
          </a:xfrm>
          <a:prstGeom prst="rect">
            <a:avLst/>
          </a:prstGeom>
          <a:noFill/>
        </p:spPr>
        <p:txBody>
          <a:bodyPr wrap="square" rtlCol="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a:lnSpc>
                <a:spcPct val="100000"/>
              </a:lnSpc>
              <a:spcBef>
                <a:spcPts val="0"/>
              </a:spcBef>
              <a:spcAft>
                <a:spcPts val="800"/>
              </a:spcAft>
              <a:buSzPct val="100000"/>
            </a:pPr>
            <a:r>
              <a:rPr lang="zh-CN" altLang="en-US" sz="3000" spc="240" dirty="0">
                <a:solidFill>
                  <a:schemeClr val="tx1">
                    <a:lumMod val="75000"/>
                    <a:lumOff val="25000"/>
                  </a:schemeClr>
                </a:solidFill>
                <a:latin typeface="Arial" panose="020B0604020202020204" pitchFamily="34" charset="0"/>
                <a:ea typeface="微软雅黑" panose="020B0503020204020204" pitchFamily="34" charset="-122"/>
                <a:sym typeface="+mn-ea"/>
              </a:rPr>
              <a:t>项目组及成员分工安排</a:t>
            </a:r>
          </a:p>
        </p:txBody>
      </p:sp>
      <p:sp>
        <p:nvSpPr>
          <p:cNvPr id="52" name="椭圆 51"/>
          <p:cNvSpPr/>
          <p:nvPr>
            <p:custDataLst>
              <p:tags r:id="rId7"/>
            </p:custDataLst>
          </p:nvPr>
        </p:nvSpPr>
        <p:spPr>
          <a:xfrm>
            <a:off x="5935064" y="1995668"/>
            <a:ext cx="134754" cy="13475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文本框 61"/>
          <p:cNvSpPr txBox="1"/>
          <p:nvPr>
            <p:custDataLst>
              <p:tags r:id="rId8"/>
            </p:custDataLst>
          </p:nvPr>
        </p:nvSpPr>
        <p:spPr>
          <a:xfrm>
            <a:off x="6161461" y="2619524"/>
            <a:ext cx="4719264" cy="691752"/>
          </a:xfrm>
          <a:prstGeom prst="rect">
            <a:avLst/>
          </a:prstGeom>
          <a:noFill/>
        </p:spPr>
        <p:txBody>
          <a:bodyPr wrap="square" rtlCol="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a:lnSpc>
                <a:spcPct val="100000"/>
              </a:lnSpc>
              <a:spcBef>
                <a:spcPts val="0"/>
              </a:spcBef>
              <a:spcAft>
                <a:spcPts val="800"/>
              </a:spcAft>
              <a:buSzPct val="100000"/>
            </a:pPr>
            <a:r>
              <a:rPr lang="zh-CN" altLang="en-US" sz="3000" spc="280" dirty="0">
                <a:solidFill>
                  <a:schemeClr val="tx1">
                    <a:lumMod val="75000"/>
                    <a:lumOff val="25000"/>
                  </a:schemeClr>
                </a:solidFill>
                <a:latin typeface="Arial" panose="020B0604020202020204" pitchFamily="34" charset="0"/>
                <a:ea typeface="微软雅黑" panose="020B0503020204020204" pitchFamily="34" charset="-122"/>
                <a:sym typeface="+mn-ea"/>
              </a:rPr>
              <a:t>项目组进度及里程碑</a:t>
            </a:r>
          </a:p>
        </p:txBody>
      </p:sp>
      <p:sp>
        <p:nvSpPr>
          <p:cNvPr id="55" name="椭圆 54"/>
          <p:cNvSpPr/>
          <p:nvPr>
            <p:custDataLst>
              <p:tags r:id="rId9"/>
            </p:custDataLst>
          </p:nvPr>
        </p:nvSpPr>
        <p:spPr>
          <a:xfrm>
            <a:off x="5935064" y="2922868"/>
            <a:ext cx="134754" cy="13475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文本框 61"/>
          <p:cNvSpPr txBox="1"/>
          <p:nvPr>
            <p:custDataLst>
              <p:tags r:id="rId10"/>
            </p:custDataLst>
          </p:nvPr>
        </p:nvSpPr>
        <p:spPr>
          <a:xfrm>
            <a:off x="6161461" y="3546724"/>
            <a:ext cx="4719264" cy="691752"/>
          </a:xfrm>
          <a:prstGeom prst="rect">
            <a:avLst/>
          </a:prstGeom>
          <a:noFill/>
        </p:spPr>
        <p:txBody>
          <a:bodyPr wrap="square" rtlCol="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a:lnSpc>
                <a:spcPct val="100000"/>
              </a:lnSpc>
              <a:spcBef>
                <a:spcPts val="0"/>
              </a:spcBef>
              <a:spcAft>
                <a:spcPts val="800"/>
              </a:spcAft>
              <a:buSzPct val="100000"/>
            </a:pPr>
            <a:r>
              <a:rPr lang="zh-CN" altLang="en-US" sz="3000" spc="300" dirty="0">
                <a:solidFill>
                  <a:schemeClr val="tx1">
                    <a:lumMod val="75000"/>
                    <a:lumOff val="25000"/>
                  </a:schemeClr>
                </a:solidFill>
                <a:latin typeface="Arial" panose="020B0604020202020204" pitchFamily="34" charset="0"/>
                <a:ea typeface="微软雅黑" panose="020B0503020204020204" pitchFamily="34" charset="-122"/>
              </a:rPr>
              <a:t>项目完成情况</a:t>
            </a:r>
          </a:p>
        </p:txBody>
      </p:sp>
      <p:sp>
        <p:nvSpPr>
          <p:cNvPr id="58" name="椭圆 57"/>
          <p:cNvSpPr/>
          <p:nvPr>
            <p:custDataLst>
              <p:tags r:id="rId11"/>
            </p:custDataLst>
          </p:nvPr>
        </p:nvSpPr>
        <p:spPr>
          <a:xfrm>
            <a:off x="5935064" y="3850068"/>
            <a:ext cx="134754" cy="13475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文本框 61"/>
          <p:cNvSpPr txBox="1"/>
          <p:nvPr>
            <p:custDataLst>
              <p:tags r:id="rId12"/>
            </p:custDataLst>
          </p:nvPr>
        </p:nvSpPr>
        <p:spPr>
          <a:xfrm>
            <a:off x="6161461" y="4473924"/>
            <a:ext cx="4719264" cy="691752"/>
          </a:xfrm>
          <a:prstGeom prst="rect">
            <a:avLst/>
          </a:prstGeom>
          <a:noFill/>
        </p:spPr>
        <p:txBody>
          <a:bodyPr wrap="square" rtlCol="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a:lnSpc>
                <a:spcPct val="100000"/>
              </a:lnSpc>
              <a:spcBef>
                <a:spcPts val="0"/>
              </a:spcBef>
              <a:spcAft>
                <a:spcPts val="800"/>
              </a:spcAft>
              <a:buSzPct val="100000"/>
            </a:pPr>
            <a:r>
              <a:rPr lang="zh-CN" altLang="zh-CN" sz="3000" spc="220" dirty="0">
                <a:solidFill>
                  <a:schemeClr val="tx1">
                    <a:lumMod val="75000"/>
                    <a:lumOff val="25000"/>
                  </a:schemeClr>
                </a:solidFill>
                <a:latin typeface="Arial" panose="020B0604020202020204" pitchFamily="34" charset="0"/>
                <a:ea typeface="微软雅黑" panose="020B0503020204020204" pitchFamily="34" charset="-122"/>
                <a:sym typeface="+mn-ea"/>
              </a:rPr>
              <a:t>项目相关工作量统计数据</a:t>
            </a:r>
          </a:p>
        </p:txBody>
      </p:sp>
      <p:sp>
        <p:nvSpPr>
          <p:cNvPr id="61" name="椭圆 60"/>
          <p:cNvSpPr/>
          <p:nvPr>
            <p:custDataLst>
              <p:tags r:id="rId13"/>
            </p:custDataLst>
          </p:nvPr>
        </p:nvSpPr>
        <p:spPr>
          <a:xfrm>
            <a:off x="5935064" y="4777268"/>
            <a:ext cx="134754" cy="13475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文本框 61"/>
          <p:cNvSpPr txBox="1"/>
          <p:nvPr>
            <p:custDataLst>
              <p:tags r:id="rId14"/>
            </p:custDataLst>
          </p:nvPr>
        </p:nvSpPr>
        <p:spPr>
          <a:xfrm>
            <a:off x="6161461" y="5401125"/>
            <a:ext cx="4719264" cy="691752"/>
          </a:xfrm>
          <a:prstGeom prst="rect">
            <a:avLst/>
          </a:prstGeom>
          <a:noFill/>
        </p:spPr>
        <p:txBody>
          <a:bodyPr wrap="square" rtlCol="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a:lnSpc>
                <a:spcPct val="100000"/>
              </a:lnSpc>
              <a:spcBef>
                <a:spcPts val="0"/>
              </a:spcBef>
              <a:spcAft>
                <a:spcPts val="800"/>
              </a:spcAft>
              <a:buSzPct val="100000"/>
            </a:pPr>
            <a:r>
              <a:rPr lang="zh-CN" altLang="zh-CN" sz="3000" spc="300" dirty="0">
                <a:solidFill>
                  <a:schemeClr val="tx1">
                    <a:lumMod val="75000"/>
                    <a:lumOff val="25000"/>
                  </a:schemeClr>
                </a:solidFill>
                <a:latin typeface="Arial" panose="020B0604020202020204" pitchFamily="34" charset="0"/>
                <a:ea typeface="微软雅黑" panose="020B0503020204020204" pitchFamily="34" charset="-122"/>
                <a:sym typeface="+mn-ea"/>
              </a:rPr>
              <a:t>会议日志</a:t>
            </a:r>
          </a:p>
        </p:txBody>
      </p:sp>
      <p:sp>
        <p:nvSpPr>
          <p:cNvPr id="64" name="椭圆 63"/>
          <p:cNvSpPr/>
          <p:nvPr>
            <p:custDataLst>
              <p:tags r:id="rId15"/>
            </p:custDataLst>
          </p:nvPr>
        </p:nvSpPr>
        <p:spPr>
          <a:xfrm>
            <a:off x="5935064" y="5704469"/>
            <a:ext cx="134754" cy="13475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文本框 943"/>
          <p:cNvSpPr txBox="1"/>
          <p:nvPr>
            <p:custDataLst>
              <p:tags r:id="rId16"/>
            </p:custDataLst>
          </p:nvPr>
        </p:nvSpPr>
        <p:spPr>
          <a:xfrm>
            <a:off x="1903039" y="2464026"/>
            <a:ext cx="3041650" cy="1277477"/>
          </a:xfrm>
          <a:prstGeom prst="rect">
            <a:avLst/>
          </a:prstGeom>
          <a:noFill/>
        </p:spPr>
        <p:txBody>
          <a:bodyPr wrap="square" lIns="91440" tIns="45720" rIns="91440" bIns="0" rtlCol="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00000"/>
              </a:lnSpc>
              <a:spcBef>
                <a:spcPts val="0"/>
              </a:spcBef>
              <a:spcAft>
                <a:spcPts val="0"/>
              </a:spcAft>
              <a:buSzPct val="100000"/>
              <a:buNone/>
            </a:pPr>
            <a:r>
              <a:rPr lang="tr-TR" sz="4000" b="1" spc="240" dirty="0">
                <a:solidFill>
                  <a:schemeClr val="accent1"/>
                </a:solidFill>
                <a:latin typeface="Arial" panose="020B0604020202020204" pitchFamily="34" charset="0"/>
                <a:ea typeface="微软雅黑" panose="020B0503020204020204" pitchFamily="34" charset="-122"/>
                <a:sym typeface="+mn-lt"/>
              </a:rPr>
              <a:t>CONTENTS</a:t>
            </a:r>
          </a:p>
        </p:txBody>
      </p:sp>
      <p:sp>
        <p:nvSpPr>
          <p:cNvPr id="18" name="文本框 944"/>
          <p:cNvSpPr txBox="1"/>
          <p:nvPr>
            <p:custDataLst>
              <p:tags r:id="rId17"/>
            </p:custDataLst>
          </p:nvPr>
        </p:nvSpPr>
        <p:spPr>
          <a:xfrm>
            <a:off x="1899864" y="3751029"/>
            <a:ext cx="3048000" cy="600075"/>
          </a:xfrm>
          <a:prstGeom prst="rect">
            <a:avLst/>
          </a:prstGeom>
          <a:noFill/>
        </p:spPr>
        <p:txBody>
          <a:bodyPr wrap="square" lIns="91440" tIns="0" rIns="91440" bIns="45720" rtlCol="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00000"/>
              </a:lnSpc>
              <a:spcBef>
                <a:spcPts val="0"/>
              </a:spcBef>
              <a:spcAft>
                <a:spcPts val="0"/>
              </a:spcAft>
              <a:buSzPct val="100000"/>
            </a:pPr>
            <a:r>
              <a:rPr lang="zh-CN" altLang="en-US" spc="100">
                <a:solidFill>
                  <a:schemeClr val="accent1"/>
                </a:solidFill>
                <a:latin typeface="Arial" panose="020B0604020202020204" pitchFamily="34" charset="0"/>
                <a:ea typeface="微软雅黑" panose="020B0503020204020204" pitchFamily="34" charset="-122"/>
              </a:rPr>
              <a:t>报告要点：</a:t>
            </a:r>
          </a:p>
        </p:txBody>
      </p:sp>
    </p:spTree>
    <p:custDataLst>
      <p:tags r:id="rId2"/>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ïŝlíḑè"/>
        <p:cNvGrpSpPr/>
        <p:nvPr/>
      </p:nvGrpSpPr>
      <p:grpSpPr>
        <a:xfrm>
          <a:off x="0" y="0"/>
          <a:ext cx="0" cy="0"/>
          <a:chOff x="0" y="0"/>
          <a:chExt cx="0" cy="0"/>
        </a:xfrm>
      </p:grpSpPr>
      <p:pic>
        <p:nvPicPr>
          <p:cNvPr id="13" name="图片 4"/>
          <p:cNvPicPr>
            <a:picLocks noChangeAspect="1"/>
          </p:cNvPicPr>
          <p:nvPr>
            <p:custDataLst>
              <p:tags r:id="rId2"/>
            </p:custDataLst>
          </p:nvPr>
        </p:nvPicPr>
        <p:blipFill rotWithShape="1">
          <a:blip r:embed="rId8"/>
          <a:srcRect t="7159" b="7159"/>
          <a:stretch>
            <a:fillRect/>
          </a:stretch>
        </p:blipFill>
        <p:spPr>
          <a:xfrm>
            <a:off x="5803799" y="737324"/>
            <a:ext cx="6388201" cy="5138989"/>
          </a:xfrm>
          <a:prstGeom prst="rect">
            <a:avLst/>
          </a:prstGeom>
        </p:spPr>
      </p:pic>
      <p:sp>
        <p:nvSpPr>
          <p:cNvPr id="14" name="矩形 6"/>
          <p:cNvSpPr/>
          <p:nvPr>
            <p:custDataLst>
              <p:tags r:id="rId3"/>
            </p:custDataLst>
          </p:nvPr>
        </p:nvSpPr>
        <p:spPr>
          <a:xfrm>
            <a:off x="5614190" y="5148168"/>
            <a:ext cx="728182" cy="72818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图形 4"/>
          <p:cNvSpPr/>
          <p:nvPr>
            <p:custDataLst>
              <p:tags r:id="rId4"/>
            </p:custDataLst>
          </p:nvPr>
        </p:nvSpPr>
        <p:spPr>
          <a:xfrm>
            <a:off x="5410052" y="5392493"/>
            <a:ext cx="787497" cy="728182"/>
          </a:xfrm>
          <a:custGeom>
            <a:avLst/>
            <a:gdLst>
              <a:gd name="connsiteX0" fmla="*/ 6016935 w 6623480"/>
              <a:gd name="connsiteY0" fmla="*/ 4670403 h 4670403"/>
              <a:gd name="connsiteX1" fmla="*/ 6016935 w 6623480"/>
              <a:gd name="connsiteY1" fmla="*/ 0 h 4670403"/>
              <a:gd name="connsiteX2" fmla="*/ 0 w 6623480"/>
              <a:gd name="connsiteY2" fmla="*/ 0 h 4670403"/>
              <a:gd name="connsiteX3" fmla="*/ 0 w 6623480"/>
              <a:gd name="connsiteY3" fmla="*/ 4233690 h 4670403"/>
              <a:gd name="connsiteX4" fmla="*/ 6623480 w 6623480"/>
              <a:gd name="connsiteY4" fmla="*/ 4233690 h 4670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3480" h="4670403">
                <a:moveTo>
                  <a:pt x="6016935" y="4670403"/>
                </a:moveTo>
                <a:lnTo>
                  <a:pt x="6016935" y="0"/>
                </a:lnTo>
                <a:lnTo>
                  <a:pt x="0" y="0"/>
                </a:lnTo>
                <a:lnTo>
                  <a:pt x="0" y="4233690"/>
                </a:lnTo>
                <a:lnTo>
                  <a:pt x="6623480" y="4233690"/>
                </a:lnTo>
              </a:path>
            </a:pathLst>
          </a:custGeom>
          <a:noFill/>
          <a:ln w="12120" cap="flat">
            <a:solidFill>
              <a:srgbClr val="000000"/>
            </a:solidFill>
            <a:prstDash val="solid"/>
            <a:miter/>
          </a:ln>
        </p:spPr>
        <p:txBody>
          <a:bodyPr rtlCol="0" anchor="ctr"/>
          <a:lstStyle/>
          <a:p>
            <a:endParaRPr lang="zh-CN" altLang="en-US"/>
          </a:p>
        </p:txBody>
      </p:sp>
      <p:sp>
        <p:nvSpPr>
          <p:cNvPr id="11" name="文本框 1"/>
          <p:cNvSpPr txBox="1"/>
          <p:nvPr>
            <p:custDataLst>
              <p:tags r:id="rId5"/>
            </p:custDataLst>
          </p:nvPr>
        </p:nvSpPr>
        <p:spPr>
          <a:xfrm>
            <a:off x="914400" y="1015566"/>
            <a:ext cx="3886200" cy="936738"/>
          </a:xfrm>
          <a:prstGeom prst="rect">
            <a:avLst/>
          </a:prstGeom>
          <a:noFill/>
        </p:spPr>
        <p:txBody>
          <a:bodyPr wrap="square" lIns="63500" tIns="25400" rIns="63500" bIns="25400" rtlCol="0" anchor="b" anchorCtr="0">
            <a:normAutofit/>
          </a:bodyPr>
          <a:lstStyle/>
          <a:p>
            <a:pPr marL="0" indent="0" algn="l">
              <a:lnSpc>
                <a:spcPct val="100000"/>
              </a:lnSpc>
              <a:spcBef>
                <a:spcPts val="0"/>
              </a:spcBef>
              <a:spcAft>
                <a:spcPts val="0"/>
              </a:spcAft>
              <a:buSzPct val="100000"/>
              <a:buNone/>
            </a:pPr>
            <a:r>
              <a:rPr lang="zh-CN" altLang="en-US" sz="4000" b="1" spc="240">
                <a:solidFill>
                  <a:schemeClr val="accent1"/>
                </a:solidFill>
                <a:uFillTx/>
                <a:latin typeface="微软雅黑" panose="020B0503020204020204" pitchFamily="34" charset="-122"/>
                <a:ea typeface="微软雅黑" panose="020B0503020204020204" pitchFamily="34" charset="-122"/>
              </a:rPr>
              <a:t>架构设计</a:t>
            </a:r>
          </a:p>
        </p:txBody>
      </p:sp>
      <p:sp>
        <p:nvSpPr>
          <p:cNvPr id="12" name="Title 6"/>
          <p:cNvSpPr txBox="1"/>
          <p:nvPr>
            <p:custDataLst>
              <p:tags r:id="rId6"/>
            </p:custDataLst>
          </p:nvPr>
        </p:nvSpPr>
        <p:spPr>
          <a:xfrm>
            <a:off x="914400" y="2245806"/>
            <a:ext cx="3886200" cy="3596627"/>
          </a:xfrm>
          <a:prstGeom prst="rect">
            <a:avLst/>
          </a:prstGeom>
          <a:noFill/>
          <a:ln w="3175">
            <a:noFill/>
            <a:prstDash val="dash"/>
          </a:ln>
        </p:spPr>
        <p:txBody>
          <a:bodyPr wrap="square" lIns="63500" tIns="25400" rIns="63500" bIns="25400" anchor="t" anchorCtr="0">
            <a:normAutofit/>
          </a:bodyPr>
          <a:lstStyle>
            <a:lvl1pPr algn="l" defTabSz="913765"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anose="020B0502040204020203" pitchFamily="34" charset="0"/>
              </a:defRPr>
            </a:lvl1pPr>
          </a:lstStyle>
          <a:p>
            <a:pPr marL="0" indent="0" algn="l" fontAlgn="auto">
              <a:lnSpc>
                <a:spcPct val="120000"/>
              </a:lnSpc>
              <a:spcBef>
                <a:spcPts val="0"/>
              </a:spcBef>
              <a:spcAft>
                <a:spcPts val="800"/>
              </a:spcAft>
              <a:buSzPct val="100000"/>
              <a:buNone/>
            </a:pPr>
            <a:r>
              <a:rPr lang="zh-CN" altLang="zh-CN" sz="1400" spc="16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顶层系统包图：</a:t>
            </a:r>
          </a:p>
          <a:p>
            <a:pPr marL="0" lvl="0" indent="0" algn="l" fontAlgn="auto">
              <a:lnSpc>
                <a:spcPct val="120000"/>
              </a:lnSpc>
              <a:spcBef>
                <a:spcPts val="0"/>
              </a:spcBef>
              <a:spcAft>
                <a:spcPts val="800"/>
              </a:spcAft>
              <a:buSzPct val="100000"/>
              <a:buFont typeface="+mj-lt"/>
              <a:buNone/>
            </a:pPr>
            <a:r>
              <a:rPr lang="zh-CN" altLang="en-US" sz="1400" spc="16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类包说明:</a:t>
            </a:r>
          </a:p>
          <a:p>
            <a:pPr marL="533400" lvl="1" indent="-254000" algn="l" fontAlgn="ctr">
              <a:lnSpc>
                <a:spcPct val="120000"/>
              </a:lnSpc>
              <a:spcBef>
                <a:spcPts val="0"/>
              </a:spcBef>
              <a:spcAft>
                <a:spcPts val="800"/>
              </a:spcAft>
              <a:buSzPct val="100000"/>
              <a:buFont typeface="Calibri Light" panose="020F0302020204030204" charset="0"/>
              <a:buAutoNum type="arabicPeriod"/>
            </a:pPr>
            <a:r>
              <a:rPr lang="zh-CN" altLang="en-US" sz="1200" spc="16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controller包为控制层类所在包，定义了接口类型，调用service包下的service类完成逻辑操作，使用enums包下定义的枚举类，同时借助convert包下的convert类完成VO的转化。</a:t>
            </a:r>
          </a:p>
          <a:p>
            <a:pPr marL="533400" lvl="1" indent="-254000" algn="l" fontAlgn="ctr">
              <a:lnSpc>
                <a:spcPct val="120000"/>
              </a:lnSpc>
              <a:spcBef>
                <a:spcPts val="0"/>
              </a:spcBef>
              <a:spcAft>
                <a:spcPts val="800"/>
              </a:spcAft>
              <a:buSzPct val="100000"/>
              <a:buFont typeface="Calibri Light" panose="020F0302020204030204" charset="0"/>
              <a:buAutoNum type="arabicPeriod"/>
            </a:pPr>
            <a:r>
              <a:rPr lang="zh-CN" altLang="en-US" sz="1200" spc="16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convert包为转化类所在包，帮助controller完成VO的转化。</a:t>
            </a:r>
          </a:p>
          <a:p>
            <a:pPr marL="533400" lvl="1" indent="-254000" algn="l" fontAlgn="ctr">
              <a:lnSpc>
                <a:spcPct val="120000"/>
              </a:lnSpc>
              <a:spcBef>
                <a:spcPts val="0"/>
              </a:spcBef>
              <a:spcAft>
                <a:spcPts val="800"/>
              </a:spcAft>
              <a:buSzPct val="100000"/>
              <a:buFont typeface="Calibri Light" panose="020F0302020204030204" charset="0"/>
              <a:buAutoNum type="arabicPeriod"/>
            </a:pPr>
            <a:r>
              <a:rPr lang="zh-CN" altLang="en-US" sz="1200" spc="16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enums包定义了系统所使用的枚举类常量。</a:t>
            </a:r>
          </a:p>
          <a:p>
            <a:pPr marL="533400" lvl="1" indent="-254000" algn="l" fontAlgn="ctr">
              <a:lnSpc>
                <a:spcPct val="120000"/>
              </a:lnSpc>
              <a:spcBef>
                <a:spcPts val="0"/>
              </a:spcBef>
              <a:spcAft>
                <a:spcPts val="800"/>
              </a:spcAft>
              <a:buSzPct val="100000"/>
              <a:buFont typeface="Calibri Light" panose="020F0302020204030204" charset="0"/>
              <a:buAutoNum type="arabicPeriod"/>
            </a:pPr>
            <a:r>
              <a:rPr lang="zh-CN" altLang="en-US" sz="1200" spc="16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service包为业务层类所在包，包含对业务数据的增删改查以及一些复杂操作。</a:t>
            </a:r>
          </a:p>
          <a:p>
            <a:pPr marL="533400" lvl="1" indent="-254000" algn="l" fontAlgn="ctr">
              <a:lnSpc>
                <a:spcPct val="120000"/>
              </a:lnSpc>
              <a:spcBef>
                <a:spcPts val="0"/>
              </a:spcBef>
              <a:spcAft>
                <a:spcPts val="800"/>
              </a:spcAft>
              <a:buSzPct val="100000"/>
              <a:buFont typeface="Calibri Light" panose="020F0302020204030204" charset="0"/>
              <a:buAutoNum type="arabicPeriod"/>
            </a:pPr>
            <a:r>
              <a:rPr lang="zh-CN" altLang="en-US" sz="1200" spc="16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dal包为数据访问层所在包。</a:t>
            </a:r>
          </a:p>
        </p:txBody>
      </p:sp>
      <p:sp>
        <p:nvSpPr>
          <p:cNvPr id="3" name="灯片编号占位符 2"/>
          <p:cNvSpPr>
            <a:spLocks noGrp="1"/>
          </p:cNvSpPr>
          <p:nvPr>
            <p:ph type="sldNum" sz="quarter" idx="12"/>
          </p:nvPr>
        </p:nvSpPr>
        <p:spPr/>
        <p:txBody>
          <a:bodyPr/>
          <a:lstStyle/>
          <a:p>
            <a:fld id="{5DD3DB80-B894-403A-B48E-6FDC1A72010E}" type="slidenum">
              <a:rPr lang="zh-CN" altLang="en-US" smtClean="0"/>
              <a:t>20</a:t>
            </a:fld>
            <a:endParaRPr lang="zh-CN" altLang="en-US"/>
          </a:p>
        </p:txBody>
      </p:sp>
    </p:spTree>
    <p:custDataLst>
      <p:tags r:id="rId1"/>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ïŝlíḑè"/>
        <p:cNvGrpSpPr/>
        <p:nvPr/>
      </p:nvGrpSpPr>
      <p:grpSpPr>
        <a:xfrm>
          <a:off x="0" y="0"/>
          <a:ext cx="0" cy="0"/>
          <a:chOff x="0" y="0"/>
          <a:chExt cx="0" cy="0"/>
        </a:xfrm>
      </p:grpSpPr>
      <p:sp>
        <p:nvSpPr>
          <p:cNvPr id="17" name="矩形 2"/>
          <p:cNvSpPr/>
          <p:nvPr userDrawn="1">
            <p:custDataLst>
              <p:tags r:id="rId3"/>
            </p:custDataLst>
          </p:nvPr>
        </p:nvSpPr>
        <p:spPr>
          <a:xfrm>
            <a:off x="292800" y="304200"/>
            <a:ext cx="11606400" cy="6249600"/>
          </a:xfrm>
          <a:prstGeom prst="rect">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8" name="文本框 3"/>
          <p:cNvSpPr txBox="1"/>
          <p:nvPr>
            <p:custDataLst>
              <p:tags r:id="rId4"/>
            </p:custDataLst>
          </p:nvPr>
        </p:nvSpPr>
        <p:spPr>
          <a:xfrm>
            <a:off x="609562" y="609535"/>
            <a:ext cx="4972088" cy="765809"/>
          </a:xfrm>
          <a:prstGeom prst="rect">
            <a:avLst/>
          </a:prstGeom>
          <a:noFill/>
        </p:spPr>
        <p:txBody>
          <a:bodyPr wrap="square" lIns="63500" tIns="25400" rIns="63500" bIns="25400" rtlCol="0" anchor="b" anchorCtr="0">
            <a:normAutofit/>
          </a:bodyPr>
          <a:lstStyle/>
          <a:p>
            <a:pPr marL="0" lvl="0" indent="0" algn="l">
              <a:lnSpc>
                <a:spcPct val="100000"/>
              </a:lnSpc>
              <a:spcBef>
                <a:spcPts val="0"/>
              </a:spcBef>
              <a:spcAft>
                <a:spcPts val="0"/>
              </a:spcAft>
              <a:buSzPct val="100000"/>
              <a:buFontTx/>
              <a:buNone/>
            </a:pPr>
            <a:r>
              <a:rPr lang="zh-CN" altLang="en-US" sz="3800" b="1" spc="220">
                <a:solidFill>
                  <a:schemeClr val="accent1"/>
                </a:solidFill>
                <a:uFillTx/>
                <a:latin typeface="微软雅黑" panose="020B0503020204020204" pitchFamily="34" charset="-122"/>
                <a:ea typeface="微软雅黑" panose="020B0503020204020204" pitchFamily="34" charset="-122"/>
              </a:rPr>
              <a:t>架构设计</a:t>
            </a:r>
          </a:p>
        </p:txBody>
      </p:sp>
      <p:sp>
        <p:nvSpPr>
          <p:cNvPr id="19" name="文本框 4"/>
          <p:cNvSpPr txBox="1"/>
          <p:nvPr>
            <p:custDataLst>
              <p:tags r:id="rId5"/>
            </p:custDataLst>
          </p:nvPr>
        </p:nvSpPr>
        <p:spPr>
          <a:xfrm>
            <a:off x="609561" y="1446464"/>
            <a:ext cx="4970818" cy="389095"/>
          </a:xfrm>
          <a:prstGeom prst="rect">
            <a:avLst/>
          </a:prstGeom>
          <a:noFill/>
        </p:spPr>
        <p:txBody>
          <a:bodyPr wrap="square" lIns="63500" tIns="25400" rIns="63500" bIns="25400" rtlCol="0" anchor="t" anchorCtr="0">
            <a:normAutofit/>
          </a:bodyPr>
          <a:lstStyle/>
          <a:p>
            <a:pPr marL="0" indent="0" algn="l" fontAlgn="auto">
              <a:lnSpc>
                <a:spcPct val="100000"/>
              </a:lnSpc>
              <a:spcBef>
                <a:spcPts val="0"/>
              </a:spcBef>
              <a:spcAft>
                <a:spcPts val="0"/>
              </a:spcAft>
              <a:buSzPct val="100000"/>
              <a:buNone/>
            </a:pPr>
            <a:r>
              <a:rPr lang="zh-CN" altLang="zh-CN" spc="100" dirty="0">
                <a:solidFill>
                  <a:schemeClr val="lt1">
                    <a:lumMod val="50000"/>
                  </a:schemeClr>
                </a:solidFill>
                <a:uFillTx/>
                <a:latin typeface="微软雅黑" panose="020B0503020204020204" pitchFamily="34" charset="-122"/>
                <a:ea typeface="微软雅黑" panose="020B0503020204020204" pitchFamily="34" charset="-122"/>
                <a:sym typeface="+mn-ea"/>
              </a:rPr>
              <a:t>业务包类图：</a:t>
            </a:r>
          </a:p>
        </p:txBody>
      </p:sp>
      <p:sp>
        <p:nvSpPr>
          <p:cNvPr id="21" name="Title 6"/>
          <p:cNvSpPr txBox="1"/>
          <p:nvPr>
            <p:custDataLst>
              <p:tags r:id="rId6"/>
            </p:custDataLst>
          </p:nvPr>
        </p:nvSpPr>
        <p:spPr>
          <a:xfrm>
            <a:off x="6038856" y="609581"/>
            <a:ext cx="5543588" cy="5638838"/>
          </a:xfrm>
          <a:prstGeom prst="rect">
            <a:avLst/>
          </a:prstGeom>
          <a:noFill/>
          <a:ln w="3175">
            <a:noFill/>
            <a:prstDash val="dash"/>
          </a:ln>
        </p:spPr>
        <p:txBody>
          <a:bodyPr wrap="square" lIns="63500" tIns="25400" rIns="63500" bIns="25400" anchor="ctr" anchorCtr="0">
            <a:normAutofit/>
          </a:bodyPr>
          <a:lstStyle>
            <a:lvl1pPr algn="l" defTabSz="913765"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anose="020B0502040204020203" pitchFamily="34" charset="0"/>
              </a:defRPr>
            </a:lvl1pPr>
          </a:lstStyle>
          <a:p>
            <a:pPr marL="304800" lvl="0" indent="-304800" algn="l" fontAlgn="ctr">
              <a:lnSpc>
                <a:spcPct val="120000"/>
              </a:lnSpc>
              <a:spcBef>
                <a:spcPts val="0"/>
              </a:spcBef>
              <a:spcAft>
                <a:spcPts val="800"/>
              </a:spcAft>
              <a:buSzPct val="100000"/>
              <a:buFont typeface="Wingdings" panose="05000000000000000000" charset="0"/>
              <a:buChar char="l"/>
            </a:pPr>
            <a:r>
              <a:rPr lang="zh-CN" altLang="en-US" sz="1600" spc="18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user包对执行用户管理的业务操作</a:t>
            </a:r>
          </a:p>
          <a:p>
            <a:pPr marL="304800" lvl="0" indent="-304800" algn="l" fontAlgn="ctr">
              <a:lnSpc>
                <a:spcPct val="120000"/>
              </a:lnSpc>
              <a:spcBef>
                <a:spcPts val="0"/>
              </a:spcBef>
              <a:spcAft>
                <a:spcPts val="800"/>
              </a:spcAft>
              <a:buSzPct val="100000"/>
              <a:buFont typeface="Wingdings" panose="05000000000000000000" charset="0"/>
              <a:buChar char="l"/>
            </a:pPr>
            <a:r>
              <a:rPr lang="zh-CN" altLang="en-US" sz="1600" spc="18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permission包执行角色、菜单、权限管理的业务操作</a:t>
            </a:r>
          </a:p>
          <a:p>
            <a:pPr marL="304800" lvl="0" indent="-304800" algn="l" fontAlgn="ctr">
              <a:lnSpc>
                <a:spcPct val="120000"/>
              </a:lnSpc>
              <a:spcBef>
                <a:spcPts val="0"/>
              </a:spcBef>
              <a:spcAft>
                <a:spcPts val="800"/>
              </a:spcAft>
              <a:buSzPct val="100000"/>
              <a:buFont typeface="Wingdings" panose="05000000000000000000" charset="0"/>
              <a:buChar char="l"/>
            </a:pPr>
            <a:r>
              <a:rPr lang="zh-CN" altLang="en-US" sz="1600" spc="18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auth包执行用户登录、注册、认证的业务操作</a:t>
            </a:r>
          </a:p>
          <a:p>
            <a:pPr marL="304800" lvl="0" indent="-304800" algn="l" fontAlgn="ctr">
              <a:lnSpc>
                <a:spcPct val="120000"/>
              </a:lnSpc>
              <a:spcBef>
                <a:spcPts val="0"/>
              </a:spcBef>
              <a:spcAft>
                <a:spcPts val="800"/>
              </a:spcAft>
              <a:buSzPct val="100000"/>
              <a:buFont typeface="Wingdings" panose="05000000000000000000" charset="0"/>
              <a:buChar char="l"/>
            </a:pPr>
            <a:r>
              <a:rPr lang="zh-CN" altLang="en-US" sz="1600" spc="18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company包执行公司管理的业务操作</a:t>
            </a:r>
          </a:p>
          <a:p>
            <a:pPr marL="304800" lvl="0" indent="-304800" algn="l" fontAlgn="ctr">
              <a:lnSpc>
                <a:spcPct val="120000"/>
              </a:lnSpc>
              <a:spcBef>
                <a:spcPts val="0"/>
              </a:spcBef>
              <a:spcAft>
                <a:spcPts val="800"/>
              </a:spcAft>
              <a:buSzPct val="100000"/>
              <a:buFont typeface="Wingdings" panose="05000000000000000000" charset="0"/>
              <a:buChar char="l"/>
            </a:pPr>
            <a:r>
              <a:rPr lang="zh-CN" altLang="en-US" sz="1600" spc="18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logger包执行登录与api操作的日志记录</a:t>
            </a:r>
          </a:p>
          <a:p>
            <a:pPr marL="304800" lvl="0" indent="-304800" algn="l" fontAlgn="ctr">
              <a:lnSpc>
                <a:spcPct val="120000"/>
              </a:lnSpc>
              <a:spcBef>
                <a:spcPts val="0"/>
              </a:spcBef>
              <a:spcAft>
                <a:spcPts val="800"/>
              </a:spcAft>
              <a:buSzPct val="100000"/>
              <a:buFont typeface="Wingdings" panose="05000000000000000000" charset="0"/>
              <a:buChar char="l"/>
            </a:pPr>
            <a:r>
              <a:rPr lang="zh-CN" altLang="en-US" sz="1600" spc="18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delegation包执行委托管理的业务操作与流转</a:t>
            </a:r>
          </a:p>
          <a:p>
            <a:pPr marL="304800" lvl="0" indent="-304800" algn="l" fontAlgn="ctr">
              <a:lnSpc>
                <a:spcPct val="120000"/>
              </a:lnSpc>
              <a:spcBef>
                <a:spcPts val="0"/>
              </a:spcBef>
              <a:spcAft>
                <a:spcPts val="800"/>
              </a:spcAft>
              <a:buSzPct val="100000"/>
              <a:buFont typeface="Wingdings" panose="05000000000000000000" charset="0"/>
              <a:buChar char="l"/>
            </a:pPr>
            <a:r>
              <a:rPr lang="zh-CN" altLang="en-US" sz="1600" spc="18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contract包执行合同操作与管理的业务操作</a:t>
            </a:r>
          </a:p>
          <a:p>
            <a:pPr marL="304800" lvl="0" indent="-304800" algn="l" fontAlgn="ctr">
              <a:lnSpc>
                <a:spcPct val="120000"/>
              </a:lnSpc>
              <a:spcBef>
                <a:spcPts val="0"/>
              </a:spcBef>
              <a:spcAft>
                <a:spcPts val="800"/>
              </a:spcAft>
              <a:buSzPct val="100000"/>
              <a:buFont typeface="Wingdings" panose="05000000000000000000" charset="0"/>
              <a:buChar char="l"/>
            </a:pPr>
            <a:r>
              <a:rPr lang="zh-CN" altLang="en-US" sz="1600" spc="18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sample包执行样品管理的业务操作</a:t>
            </a:r>
          </a:p>
          <a:p>
            <a:pPr marL="304800" lvl="0" indent="-304800" algn="l" fontAlgn="ctr">
              <a:lnSpc>
                <a:spcPct val="120000"/>
              </a:lnSpc>
              <a:spcBef>
                <a:spcPts val="0"/>
              </a:spcBef>
              <a:spcAft>
                <a:spcPts val="800"/>
              </a:spcAft>
              <a:buSzPct val="100000"/>
              <a:buFont typeface="Wingdings" panose="05000000000000000000" charset="0"/>
              <a:buChar char="l"/>
            </a:pPr>
            <a:r>
              <a:rPr lang="zh-CN" altLang="en-US" sz="1600" spc="18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solution包执行测试方案管理的业务操作</a:t>
            </a:r>
          </a:p>
          <a:p>
            <a:pPr marL="304800" lvl="0" indent="-304800" algn="l" fontAlgn="ctr">
              <a:lnSpc>
                <a:spcPct val="120000"/>
              </a:lnSpc>
              <a:spcBef>
                <a:spcPts val="0"/>
              </a:spcBef>
              <a:spcAft>
                <a:spcPts val="800"/>
              </a:spcAft>
              <a:buSzPct val="100000"/>
              <a:buFont typeface="Wingdings" panose="05000000000000000000" charset="0"/>
              <a:buChar char="l"/>
            </a:pPr>
            <a:r>
              <a:rPr lang="zh-CN" altLang="en-US" sz="1600" spc="18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report包执行测试报告管理的业务操作</a:t>
            </a:r>
          </a:p>
          <a:p>
            <a:pPr marL="304800" lvl="0" indent="-304800" algn="l" fontAlgn="ctr">
              <a:lnSpc>
                <a:spcPct val="120000"/>
              </a:lnSpc>
              <a:spcBef>
                <a:spcPts val="0"/>
              </a:spcBef>
              <a:spcAft>
                <a:spcPts val="800"/>
              </a:spcAft>
              <a:buSzPct val="100000"/>
              <a:buFont typeface="Wingdings" panose="05000000000000000000" charset="0"/>
              <a:buChar char="l"/>
            </a:pPr>
            <a:r>
              <a:rPr lang="zh-CN" altLang="en-US" sz="1600" spc="18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flow包执行对流程中状态的日志记录</a:t>
            </a:r>
          </a:p>
        </p:txBody>
      </p:sp>
      <p:sp>
        <p:nvSpPr>
          <p:cNvPr id="3" name="灯片编号占位符 2"/>
          <p:cNvSpPr>
            <a:spLocks noGrp="1"/>
          </p:cNvSpPr>
          <p:nvPr>
            <p:ph type="sldNum" sz="quarter" idx="12"/>
          </p:nvPr>
        </p:nvSpPr>
        <p:spPr/>
        <p:txBody>
          <a:bodyPr/>
          <a:lstStyle/>
          <a:p>
            <a:fld id="{5DD3DB80-B894-403A-B48E-6FDC1A72010E}" type="slidenum">
              <a:rPr lang="zh-CN" altLang="en-US" smtClean="0"/>
              <a:t>21</a:t>
            </a:fld>
            <a:endParaRPr lang="zh-CN" altLang="en-US"/>
          </a:p>
        </p:txBody>
      </p:sp>
      <p:pic>
        <p:nvPicPr>
          <p:cNvPr id="4" name="图片 3" descr="业务类包图.drawio"/>
          <p:cNvPicPr>
            <a:picLocks noChangeAspect="1"/>
          </p:cNvPicPr>
          <p:nvPr/>
        </p:nvPicPr>
        <p:blipFill>
          <a:blip r:embed="rId8"/>
          <a:stretch>
            <a:fillRect/>
          </a:stretch>
        </p:blipFill>
        <p:spPr>
          <a:xfrm>
            <a:off x="609600" y="2065655"/>
            <a:ext cx="5055235" cy="3427730"/>
          </a:xfrm>
          <a:prstGeom prst="rect">
            <a:avLst/>
          </a:prstGeom>
        </p:spPr>
      </p:pic>
    </p:spTree>
    <p:custDataLst>
      <p:tags r:id="rId2"/>
    </p:custData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ïŝlíḑè"/>
        <p:cNvGrpSpPr/>
        <p:nvPr/>
      </p:nvGrpSpPr>
      <p:grpSpPr>
        <a:xfrm>
          <a:off x="0" y="0"/>
          <a:ext cx="0" cy="0"/>
          <a:chOff x="0" y="0"/>
          <a:chExt cx="0" cy="0"/>
        </a:xfrm>
      </p:grpSpPr>
      <p:sp>
        <p:nvSpPr>
          <p:cNvPr id="9" name="文本框 4"/>
          <p:cNvSpPr txBox="1"/>
          <p:nvPr>
            <p:custDataLst>
              <p:tags r:id="rId2"/>
            </p:custDataLst>
          </p:nvPr>
        </p:nvSpPr>
        <p:spPr>
          <a:xfrm>
            <a:off x="609562" y="259085"/>
            <a:ext cx="10972876" cy="762000"/>
          </a:xfrm>
          <a:prstGeom prst="rect">
            <a:avLst/>
          </a:prstGeom>
          <a:noFill/>
        </p:spPr>
        <p:txBody>
          <a:bodyPr wrap="square" lIns="63500" tIns="25400" rIns="63500" bIns="25400" rtlCol="0" anchor="t" anchorCtr="0">
            <a:normAutofit/>
          </a:bodyPr>
          <a:lstStyle/>
          <a:p>
            <a:pPr marL="0" indent="0" algn="l">
              <a:lnSpc>
                <a:spcPct val="100000"/>
              </a:lnSpc>
              <a:spcBef>
                <a:spcPts val="0"/>
              </a:spcBef>
              <a:spcAft>
                <a:spcPts val="0"/>
              </a:spcAft>
              <a:buSzPct val="100000"/>
              <a:buNone/>
            </a:pPr>
            <a:r>
              <a:rPr lang="zh-CN" altLang="zh-CN" sz="4000" b="1" spc="240" dirty="0">
                <a:solidFill>
                  <a:schemeClr val="accent1"/>
                </a:solidFill>
                <a:uFillTx/>
                <a:latin typeface="微软雅黑" panose="020B0503020204020204" pitchFamily="34" charset="-122"/>
                <a:ea typeface="微软雅黑" panose="020B0503020204020204" pitchFamily="34" charset="-122"/>
                <a:sym typeface="+mn-ea"/>
              </a:rPr>
              <a:t>接口设计</a:t>
            </a:r>
          </a:p>
        </p:txBody>
      </p:sp>
      <p:sp>
        <p:nvSpPr>
          <p:cNvPr id="11" name="Title 6"/>
          <p:cNvSpPr txBox="1"/>
          <p:nvPr>
            <p:custDataLst>
              <p:tags r:id="rId3"/>
            </p:custDataLst>
          </p:nvPr>
        </p:nvSpPr>
        <p:spPr>
          <a:xfrm>
            <a:off x="7957838" y="1600215"/>
            <a:ext cx="3562375" cy="3657625"/>
          </a:xfrm>
          <a:prstGeom prst="rect">
            <a:avLst/>
          </a:prstGeom>
          <a:noFill/>
          <a:ln w="3175">
            <a:noFill/>
            <a:prstDash val="dash"/>
          </a:ln>
        </p:spPr>
        <p:txBody>
          <a:bodyPr wrap="square" lIns="63500" tIns="25400" rIns="63500" bIns="25400" anchor="ctr" anchorCtr="0">
            <a:normAutofit/>
          </a:bodyPr>
          <a:lstStyle>
            <a:lvl1pPr algn="l" defTabSz="913765"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anose="020B0502040204020203" pitchFamily="34" charset="0"/>
              </a:defRPr>
            </a:lvl1pPr>
          </a:lstStyle>
          <a:p>
            <a:pPr marL="0" lvl="0" indent="-285750" algn="l" fontAlgn="ctr">
              <a:lnSpc>
                <a:spcPct val="120000"/>
              </a:lnSpc>
              <a:spcBef>
                <a:spcPts val="0"/>
              </a:spcBef>
              <a:spcAft>
                <a:spcPts val="800"/>
              </a:spcAft>
              <a:buSzPct val="100000"/>
              <a:buFont typeface="Wingdings" panose="05000000000000000000" charset="0"/>
              <a:buNone/>
            </a:pPr>
            <a:r>
              <a:rPr lang="en-US" altLang="zh-CN" sz="1800" spc="20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项目采用RESTful API 的接口设计，并配置Swagger实现接口文档。</a:t>
            </a:r>
          </a:p>
          <a:p>
            <a:pPr marL="0" lvl="0" indent="-285750" algn="l" fontAlgn="ctr">
              <a:lnSpc>
                <a:spcPct val="120000"/>
              </a:lnSpc>
              <a:spcBef>
                <a:spcPts val="0"/>
              </a:spcBef>
              <a:spcAft>
                <a:spcPts val="800"/>
              </a:spcAft>
              <a:buSzPct val="100000"/>
              <a:buFont typeface="Wingdings" panose="05000000000000000000" charset="0"/>
              <a:buNone/>
            </a:pPr>
            <a:r>
              <a:rPr lang="en-US" altLang="zh-CN" sz="1800" spc="20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每个接口单独配置与前端交互的视图对象，即VO，以保证项目接口的灵活可变。</a:t>
            </a:r>
          </a:p>
          <a:p>
            <a:pPr marL="0" lvl="0" indent="-285750" algn="l" fontAlgn="ctr">
              <a:lnSpc>
                <a:spcPct val="120000"/>
              </a:lnSpc>
              <a:spcBef>
                <a:spcPts val="0"/>
              </a:spcBef>
              <a:spcAft>
                <a:spcPts val="800"/>
              </a:spcAft>
              <a:buSzPct val="100000"/>
              <a:buFont typeface="Wingdings" panose="05000000000000000000" charset="0"/>
              <a:buNone/>
            </a:pPr>
            <a:r>
              <a:rPr lang="en-US" altLang="zh-CN" sz="1800" spc="20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每个接口根据所在包的位置，分配了不同的前缀，以保证接口的清晰与易读。</a:t>
            </a:r>
          </a:p>
        </p:txBody>
      </p:sp>
      <p:sp>
        <p:nvSpPr>
          <p:cNvPr id="3" name="灯片编号占位符 2"/>
          <p:cNvSpPr>
            <a:spLocks noGrp="1"/>
          </p:cNvSpPr>
          <p:nvPr>
            <p:ph type="sldNum" sz="quarter" idx="12"/>
          </p:nvPr>
        </p:nvSpPr>
        <p:spPr/>
        <p:txBody>
          <a:bodyPr/>
          <a:lstStyle/>
          <a:p>
            <a:fld id="{5DD3DB80-B894-403A-B48E-6FDC1A72010E}" type="slidenum">
              <a:rPr lang="zh-CN" altLang="en-US" smtClean="0"/>
              <a:t>22</a:t>
            </a:fld>
            <a:endParaRPr lang="zh-CN" altLang="en-US"/>
          </a:p>
        </p:txBody>
      </p:sp>
      <p:pic>
        <p:nvPicPr>
          <p:cNvPr id="6" name="图片 5"/>
          <p:cNvPicPr>
            <a:picLocks noChangeAspect="1"/>
          </p:cNvPicPr>
          <p:nvPr/>
        </p:nvPicPr>
        <p:blipFill>
          <a:blip r:embed="rId5"/>
          <a:stretch>
            <a:fillRect/>
          </a:stretch>
        </p:blipFill>
        <p:spPr>
          <a:xfrm>
            <a:off x="471805" y="1744980"/>
            <a:ext cx="7082790" cy="4183380"/>
          </a:xfrm>
          <a:prstGeom prst="rect">
            <a:avLst/>
          </a:prstGeom>
        </p:spPr>
      </p:pic>
    </p:spTree>
    <p:custDataLst>
      <p:tags r:id="rId1"/>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ïŝlíḑè"/>
        <p:cNvGrpSpPr/>
        <p:nvPr/>
      </p:nvGrpSpPr>
      <p:grpSpPr>
        <a:xfrm>
          <a:off x="0" y="0"/>
          <a:ext cx="0" cy="0"/>
          <a:chOff x="0" y="0"/>
          <a:chExt cx="0" cy="0"/>
        </a:xfrm>
      </p:grpSpPr>
      <p:sp>
        <p:nvSpPr>
          <p:cNvPr id="2" name="ïṣ1îḑe"/>
          <p:cNvSpPr>
            <a:spLocks noGrp="1"/>
          </p:cNvSpPr>
          <p:nvPr>
            <p:ph type="title"/>
          </p:nvPr>
        </p:nvSpPr>
        <p:spPr/>
        <p:txBody>
          <a:bodyPr>
            <a:normAutofit/>
          </a:bodyPr>
          <a:lstStyle/>
          <a:p>
            <a:r>
              <a:rPr lang="zh-CN" altLang="zh-CN" spc="240" dirty="0">
                <a:solidFill>
                  <a:schemeClr val="accent1"/>
                </a:solidFill>
                <a:uFillTx/>
                <a:latin typeface="微软雅黑" panose="020B0503020204020204" pitchFamily="34" charset="-122"/>
                <a:ea typeface="微软雅黑" panose="020B0503020204020204" pitchFamily="34" charset="-122"/>
                <a:sym typeface="+mn-ea"/>
              </a:rPr>
              <a:t>接口设计</a:t>
            </a:r>
            <a:endParaRPr lang="zh-CN" altLang="en-US"/>
          </a:p>
        </p:txBody>
      </p:sp>
      <p:sp>
        <p:nvSpPr>
          <p:cNvPr id="4" name="íṧḻíďè"/>
          <p:cNvSpPr>
            <a:spLocks noGrp="1"/>
          </p:cNvSpPr>
          <p:nvPr>
            <p:ph type="sldNum" sz="quarter" idx="12"/>
          </p:nvPr>
        </p:nvSpPr>
        <p:spPr/>
        <p:txBody>
          <a:bodyPr/>
          <a:lstStyle/>
          <a:p>
            <a:fld id="{5DD3DB80-B894-403A-B48E-6FDC1A72010E}" type="slidenum">
              <a:rPr lang="zh-CN" altLang="en-US" smtClean="0"/>
              <a:t>23</a:t>
            </a:fld>
            <a:endParaRPr lang="zh-CN" altLang="en-US"/>
          </a:p>
        </p:txBody>
      </p:sp>
      <p:sp>
        <p:nvSpPr>
          <p:cNvPr id="5" name="内容占位符 2"/>
          <p:cNvSpPr txBox="1"/>
          <p:nvPr/>
        </p:nvSpPr>
        <p:spPr>
          <a:xfrm>
            <a:off x="465454" y="1378006"/>
            <a:ext cx="9221342" cy="486309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400"/>
              <a:t>部分接口如下：</a:t>
            </a:r>
          </a:p>
        </p:txBody>
      </p:sp>
      <p:pic>
        <p:nvPicPr>
          <p:cNvPr id="6" name="图片 5"/>
          <p:cNvPicPr>
            <a:picLocks noChangeAspect="1"/>
          </p:cNvPicPr>
          <p:nvPr/>
        </p:nvPicPr>
        <p:blipFill>
          <a:blip r:embed="rId3"/>
          <a:stretch>
            <a:fillRect/>
          </a:stretch>
        </p:blipFill>
        <p:spPr>
          <a:xfrm>
            <a:off x="2813050" y="68580"/>
            <a:ext cx="3291840" cy="6720840"/>
          </a:xfrm>
          <a:prstGeom prst="rect">
            <a:avLst/>
          </a:prstGeom>
        </p:spPr>
      </p:pic>
      <p:pic>
        <p:nvPicPr>
          <p:cNvPr id="7" name="图片 6"/>
          <p:cNvPicPr>
            <a:picLocks noChangeAspect="1"/>
          </p:cNvPicPr>
          <p:nvPr/>
        </p:nvPicPr>
        <p:blipFill>
          <a:blip r:embed="rId4"/>
          <a:stretch>
            <a:fillRect/>
          </a:stretch>
        </p:blipFill>
        <p:spPr>
          <a:xfrm>
            <a:off x="6000750" y="68580"/>
            <a:ext cx="3253740" cy="4259580"/>
          </a:xfrm>
          <a:prstGeom prst="rect">
            <a:avLst/>
          </a:prstGeom>
        </p:spPr>
      </p:pic>
      <p:pic>
        <p:nvPicPr>
          <p:cNvPr id="8" name="图片 7"/>
          <p:cNvPicPr>
            <a:picLocks noChangeAspect="1"/>
          </p:cNvPicPr>
          <p:nvPr/>
        </p:nvPicPr>
        <p:blipFill>
          <a:blip r:embed="rId5"/>
          <a:stretch>
            <a:fillRect/>
          </a:stretch>
        </p:blipFill>
        <p:spPr>
          <a:xfrm>
            <a:off x="6000750" y="4610735"/>
            <a:ext cx="3223260" cy="1836420"/>
          </a:xfrm>
          <a:prstGeom prst="rect">
            <a:avLst/>
          </a:prstGeom>
        </p:spPr>
      </p:pic>
      <p:pic>
        <p:nvPicPr>
          <p:cNvPr id="10" name="图片 9"/>
          <p:cNvPicPr>
            <a:picLocks noChangeAspect="1"/>
          </p:cNvPicPr>
          <p:nvPr/>
        </p:nvPicPr>
        <p:blipFill>
          <a:blip r:embed="rId6"/>
          <a:stretch>
            <a:fillRect/>
          </a:stretch>
        </p:blipFill>
        <p:spPr>
          <a:xfrm>
            <a:off x="8980170" y="68580"/>
            <a:ext cx="3329940" cy="3185160"/>
          </a:xfrm>
          <a:prstGeom prst="rect">
            <a:avLst/>
          </a:prstGeom>
        </p:spPr>
      </p:pic>
      <p:pic>
        <p:nvPicPr>
          <p:cNvPr id="11" name="图片 10"/>
          <p:cNvPicPr>
            <a:picLocks noChangeAspect="1"/>
          </p:cNvPicPr>
          <p:nvPr/>
        </p:nvPicPr>
        <p:blipFill>
          <a:blip r:embed="rId7"/>
          <a:stretch>
            <a:fillRect/>
          </a:stretch>
        </p:blipFill>
        <p:spPr>
          <a:xfrm>
            <a:off x="9025890" y="3516630"/>
            <a:ext cx="3284220" cy="2644140"/>
          </a:xfrm>
          <a:prstGeom prst="rect">
            <a:avLst/>
          </a:prstGeom>
        </p:spPr>
      </p:pic>
    </p:spTree>
    <p:custDataLst>
      <p:tags r:id="rId1"/>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ïŝlíḑè"/>
        <p:cNvGrpSpPr/>
        <p:nvPr/>
      </p:nvGrpSpPr>
      <p:grpSpPr>
        <a:xfrm>
          <a:off x="0" y="0"/>
          <a:ext cx="0" cy="0"/>
          <a:chOff x="0" y="0"/>
          <a:chExt cx="0" cy="0"/>
        </a:xfrm>
      </p:grpSpPr>
      <p:sp>
        <p:nvSpPr>
          <p:cNvPr id="12" name="文本框 1"/>
          <p:cNvSpPr txBox="1"/>
          <p:nvPr>
            <p:custDataLst>
              <p:tags r:id="rId2"/>
            </p:custDataLst>
          </p:nvPr>
        </p:nvSpPr>
        <p:spPr>
          <a:xfrm>
            <a:off x="457155" y="304800"/>
            <a:ext cx="11277689" cy="762000"/>
          </a:xfrm>
          <a:prstGeom prst="rect">
            <a:avLst/>
          </a:prstGeom>
          <a:noFill/>
        </p:spPr>
        <p:txBody>
          <a:bodyPr wrap="square" lIns="63500" tIns="25400" rIns="63500" bIns="25400" rtlCol="0" anchor="ctr" anchorCtr="0">
            <a:normAutofit/>
          </a:bodyPr>
          <a:lstStyle/>
          <a:p>
            <a:pPr marL="0" indent="0" algn="l">
              <a:lnSpc>
                <a:spcPct val="100000"/>
              </a:lnSpc>
              <a:spcBef>
                <a:spcPts val="0"/>
              </a:spcBef>
              <a:spcAft>
                <a:spcPts val="0"/>
              </a:spcAft>
              <a:buSzPct val="100000"/>
              <a:buNone/>
            </a:pPr>
            <a:r>
              <a:rPr lang="zh-CN" altLang="en-US" sz="4000" b="1" spc="240">
                <a:solidFill>
                  <a:schemeClr val="accent1"/>
                </a:solidFill>
                <a:uFillTx/>
                <a:latin typeface="微软雅黑" panose="020B0503020204020204" pitchFamily="34" charset="-122"/>
                <a:ea typeface="微软雅黑" panose="020B0503020204020204" pitchFamily="34" charset="-122"/>
              </a:rPr>
              <a:t>相关测试</a:t>
            </a:r>
          </a:p>
        </p:txBody>
      </p:sp>
      <p:sp>
        <p:nvSpPr>
          <p:cNvPr id="13" name="Title 6"/>
          <p:cNvSpPr txBox="1"/>
          <p:nvPr>
            <p:custDataLst>
              <p:tags r:id="rId3"/>
            </p:custDataLst>
          </p:nvPr>
        </p:nvSpPr>
        <p:spPr>
          <a:xfrm>
            <a:off x="457161" y="1371600"/>
            <a:ext cx="4425709" cy="5181600"/>
          </a:xfrm>
          <a:prstGeom prst="rect">
            <a:avLst/>
          </a:prstGeom>
          <a:noFill/>
          <a:ln w="3175">
            <a:noFill/>
            <a:prstDash val="dash"/>
          </a:ln>
        </p:spPr>
        <p:txBody>
          <a:bodyPr wrap="square" lIns="63500" tIns="25400" rIns="63500" bIns="25400" anchor="ctr" anchorCtr="0">
            <a:normAutofit/>
          </a:bodyPr>
          <a:lstStyle>
            <a:lvl1pPr algn="l" defTabSz="913765"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anose="020B0502040204020203" pitchFamily="34" charset="0"/>
              </a:defRPr>
            </a:lvl1pPr>
          </a:lstStyle>
          <a:p>
            <a:pPr marL="0" lvl="0" indent="0" algn="l" fontAlgn="auto">
              <a:lnSpc>
                <a:spcPct val="120000"/>
              </a:lnSpc>
              <a:spcBef>
                <a:spcPts val="0"/>
              </a:spcBef>
              <a:spcAft>
                <a:spcPts val="800"/>
              </a:spcAft>
              <a:buSzPct val="100000"/>
              <a:buNone/>
            </a:pPr>
            <a:r>
              <a:rPr lang="en-US" altLang="zh-CN" sz="1600" spc="18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单元测试</a:t>
            </a:r>
          </a:p>
          <a:p>
            <a:pPr marL="584200" lvl="1" indent="-279400" algn="l" fontAlgn="ctr">
              <a:lnSpc>
                <a:spcPct val="120000"/>
              </a:lnSpc>
              <a:spcBef>
                <a:spcPts val="0"/>
              </a:spcBef>
              <a:spcAft>
                <a:spcPts val="800"/>
              </a:spcAft>
              <a:buSzPct val="100000"/>
              <a:buFont typeface="Arial" panose="020B0604020202020204" pitchFamily="34" charset="0"/>
              <a:buChar char="○"/>
            </a:pPr>
            <a:r>
              <a:rPr lang="en-US" altLang="zh-CN" sz="1400" spc="16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单元测试对各个部分Service进行测试，为了与项目真实数据库隔离开来，单元测试使用H2数据库，每</a:t>
            </a:r>
          </a:p>
          <a:p>
            <a:pPr marL="584200" lvl="1" indent="-279400" algn="l" fontAlgn="ctr">
              <a:lnSpc>
                <a:spcPct val="120000"/>
              </a:lnSpc>
              <a:spcBef>
                <a:spcPts val="0"/>
              </a:spcBef>
              <a:spcAft>
                <a:spcPts val="800"/>
              </a:spcAft>
              <a:buSzPct val="100000"/>
              <a:buFont typeface="Arial" panose="020B0604020202020204" pitchFamily="34" charset="0"/>
              <a:buChar char="○"/>
            </a:pPr>
            <a:r>
              <a:rPr lang="en-US" altLang="zh-CN" sz="1400" spc="16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个单元测试运行前会首先运行H2建表语句并在运行结束后进行H2删库操作。</a:t>
            </a:r>
          </a:p>
          <a:p>
            <a:pPr marL="584200" lvl="1" indent="-279400" algn="l" fontAlgn="ctr">
              <a:lnSpc>
                <a:spcPct val="120000"/>
              </a:lnSpc>
              <a:spcBef>
                <a:spcPts val="0"/>
              </a:spcBef>
              <a:spcAft>
                <a:spcPts val="800"/>
              </a:spcAft>
              <a:buSzPct val="100000"/>
              <a:buFont typeface="Arial" panose="020B0604020202020204" pitchFamily="34" charset="0"/>
              <a:buChar char="○"/>
            </a:pPr>
            <a:r>
              <a:rPr lang="en-US" altLang="zh-CN" sz="1400" spc="16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利用Mockito框架虚拟出一个外部依赖，降低测试组件之间的耦合度，只注重代码的流程与结果，真正</a:t>
            </a:r>
          </a:p>
          <a:p>
            <a:pPr marL="584200" lvl="1" indent="-279400" algn="l" fontAlgn="ctr">
              <a:lnSpc>
                <a:spcPct val="120000"/>
              </a:lnSpc>
              <a:spcBef>
                <a:spcPts val="0"/>
              </a:spcBef>
              <a:spcAft>
                <a:spcPts val="800"/>
              </a:spcAft>
              <a:buSzPct val="100000"/>
              <a:buFont typeface="Arial" panose="020B0604020202020204" pitchFamily="34" charset="0"/>
              <a:buChar char="○"/>
            </a:pPr>
            <a:r>
              <a:rPr lang="en-US" altLang="zh-CN" sz="1400" spc="16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地实现测试目的。在测试某个Service环节中，单元测试会模拟出其他Service（用@MockBean引入），</a:t>
            </a:r>
          </a:p>
          <a:p>
            <a:pPr marL="584200" lvl="1" indent="-279400" algn="l" fontAlgn="ctr">
              <a:lnSpc>
                <a:spcPct val="120000"/>
              </a:lnSpc>
              <a:spcBef>
                <a:spcPts val="0"/>
              </a:spcBef>
              <a:spcAft>
                <a:spcPts val="800"/>
              </a:spcAft>
              <a:buSzPct val="100000"/>
              <a:buFont typeface="Arial" panose="020B0604020202020204" pitchFamily="34" charset="0"/>
              <a:buChar char="○"/>
            </a:pPr>
            <a:r>
              <a:rPr lang="en-US" altLang="zh-CN" sz="1400" spc="16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但是对测试Service和相关数据（Mapper）真实引入（@Resource）。</a:t>
            </a:r>
          </a:p>
        </p:txBody>
      </p:sp>
      <p:pic>
        <p:nvPicPr>
          <p:cNvPr id="14" name="图片 6"/>
          <p:cNvPicPr>
            <a:picLocks noChangeAspect="1"/>
          </p:cNvPicPr>
          <p:nvPr>
            <p:custDataLst>
              <p:tags r:id="rId4"/>
            </p:custDataLst>
          </p:nvPr>
        </p:nvPicPr>
        <p:blipFill rotWithShape="1">
          <a:blip r:embed="rId6"/>
          <a:srcRect/>
          <a:stretch>
            <a:fillRect/>
          </a:stretch>
        </p:blipFill>
        <p:spPr>
          <a:xfrm>
            <a:off x="5187723" y="1741488"/>
            <a:ext cx="6547116" cy="1698625"/>
          </a:xfrm>
          <a:custGeom>
            <a:avLst/>
            <a:gdLst/>
            <a:ahLst/>
            <a:cxnLst>
              <a:cxn ang="3">
                <a:pos x="hc" y="t"/>
              </a:cxn>
              <a:cxn ang="cd2">
                <a:pos x="l" y="vc"/>
              </a:cxn>
              <a:cxn ang="cd4">
                <a:pos x="hc" y="b"/>
              </a:cxn>
              <a:cxn ang="0">
                <a:pos x="r" y="vc"/>
              </a:cxn>
            </a:cxnLst>
            <a:rect l="l" t="t" r="r" b="b"/>
            <a:pathLst>
              <a:path w="7200" h="3840">
                <a:moveTo>
                  <a:pt x="0" y="0"/>
                </a:moveTo>
                <a:lnTo>
                  <a:pt x="7200" y="0"/>
                </a:lnTo>
                <a:lnTo>
                  <a:pt x="7200" y="3840"/>
                </a:lnTo>
                <a:lnTo>
                  <a:pt x="0" y="3840"/>
                </a:lnTo>
                <a:lnTo>
                  <a:pt x="0" y="0"/>
                </a:lnTo>
                <a:close/>
              </a:path>
            </a:pathLst>
          </a:custGeom>
        </p:spPr>
      </p:pic>
      <p:sp>
        <p:nvSpPr>
          <p:cNvPr id="3" name="灯片编号占位符 2"/>
          <p:cNvSpPr>
            <a:spLocks noGrp="1"/>
          </p:cNvSpPr>
          <p:nvPr>
            <p:ph type="sldNum" sz="quarter" idx="12"/>
          </p:nvPr>
        </p:nvSpPr>
        <p:spPr/>
        <p:txBody>
          <a:bodyPr/>
          <a:lstStyle/>
          <a:p>
            <a:fld id="{5DD3DB80-B894-403A-B48E-6FDC1A72010E}" type="slidenum">
              <a:rPr lang="zh-CN" altLang="en-US" smtClean="0"/>
              <a:t>24</a:t>
            </a:fld>
            <a:endParaRPr lang="zh-CN" altLang="en-US"/>
          </a:p>
        </p:txBody>
      </p:sp>
      <p:pic>
        <p:nvPicPr>
          <p:cNvPr id="4" name="图片 3"/>
          <p:cNvPicPr>
            <a:picLocks noChangeAspect="1"/>
          </p:cNvPicPr>
          <p:nvPr/>
        </p:nvPicPr>
        <p:blipFill>
          <a:blip r:embed="rId7"/>
          <a:stretch>
            <a:fillRect/>
          </a:stretch>
        </p:blipFill>
        <p:spPr>
          <a:xfrm>
            <a:off x="5071110" y="3680460"/>
            <a:ext cx="5433060" cy="2644140"/>
          </a:xfrm>
          <a:prstGeom prst="rect">
            <a:avLst/>
          </a:prstGeom>
        </p:spPr>
      </p:pic>
    </p:spTree>
    <p:custDataLst>
      <p:tags r:id="rId1"/>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ïŝlíḑè"/>
        <p:cNvGrpSpPr/>
        <p:nvPr/>
      </p:nvGrpSpPr>
      <p:grpSpPr>
        <a:xfrm>
          <a:off x="0" y="0"/>
          <a:ext cx="0" cy="0"/>
          <a:chOff x="0" y="0"/>
          <a:chExt cx="0" cy="0"/>
        </a:xfrm>
      </p:grpSpPr>
      <p:sp>
        <p:nvSpPr>
          <p:cNvPr id="9" name="文本框 3"/>
          <p:cNvSpPr txBox="1"/>
          <p:nvPr>
            <p:custDataLst>
              <p:tags r:id="rId2"/>
            </p:custDataLst>
          </p:nvPr>
        </p:nvSpPr>
        <p:spPr>
          <a:xfrm>
            <a:off x="547333" y="335160"/>
            <a:ext cx="10972876" cy="912990"/>
          </a:xfrm>
          <a:prstGeom prst="rect">
            <a:avLst/>
          </a:prstGeom>
          <a:noFill/>
        </p:spPr>
        <p:txBody>
          <a:bodyPr wrap="square" lIns="63500" tIns="25400" rIns="63500" bIns="25400" rtlCol="0" anchor="t" anchorCtr="0">
            <a:normAutofit/>
          </a:bodyPr>
          <a:lstStyle/>
          <a:p>
            <a:pPr marL="0" indent="0" algn="l">
              <a:lnSpc>
                <a:spcPct val="100000"/>
              </a:lnSpc>
              <a:spcBef>
                <a:spcPts val="0"/>
              </a:spcBef>
              <a:spcAft>
                <a:spcPts val="0"/>
              </a:spcAft>
              <a:buSzPct val="100000"/>
              <a:buNone/>
            </a:pPr>
            <a:r>
              <a:rPr lang="zh-CN" altLang="zh-CN" sz="4000" b="1" spc="240" dirty="0">
                <a:solidFill>
                  <a:schemeClr val="accent1"/>
                </a:solidFill>
                <a:uFillTx/>
                <a:latin typeface="微软雅黑" panose="020B0503020204020204" pitchFamily="34" charset="-122"/>
                <a:ea typeface="微软雅黑" panose="020B0503020204020204" pitchFamily="34" charset="-122"/>
                <a:sym typeface="+mn-ea"/>
              </a:rPr>
              <a:t>相关测试</a:t>
            </a:r>
          </a:p>
        </p:txBody>
      </p:sp>
      <p:sp>
        <p:nvSpPr>
          <p:cNvPr id="11" name="Title 6"/>
          <p:cNvSpPr txBox="1"/>
          <p:nvPr>
            <p:custDataLst>
              <p:tags r:id="rId3"/>
            </p:custDataLst>
          </p:nvPr>
        </p:nvSpPr>
        <p:spPr>
          <a:xfrm>
            <a:off x="6629418" y="2316480"/>
            <a:ext cx="4953025" cy="3139440"/>
          </a:xfrm>
          <a:prstGeom prst="rect">
            <a:avLst/>
          </a:prstGeom>
          <a:noFill/>
          <a:ln w="3175">
            <a:noFill/>
            <a:prstDash val="dash"/>
          </a:ln>
        </p:spPr>
        <p:txBody>
          <a:bodyPr wrap="square" lIns="63500" tIns="25400" rIns="63500" bIns="25400" anchor="ctr" anchorCtr="0">
            <a:normAutofit/>
          </a:bodyPr>
          <a:lstStyle>
            <a:lvl1pPr algn="l" defTabSz="913765"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anose="020B0502040204020203" pitchFamily="34" charset="0"/>
              </a:defRPr>
            </a:lvl1pPr>
          </a:lstStyle>
          <a:p>
            <a:pPr marL="355600" lvl="0" indent="-355600" algn="l" fontAlgn="ctr">
              <a:lnSpc>
                <a:spcPct val="120000"/>
              </a:lnSpc>
              <a:spcBef>
                <a:spcPts val="0"/>
              </a:spcBef>
              <a:spcAft>
                <a:spcPts val="800"/>
              </a:spcAft>
              <a:buSzPct val="100000"/>
              <a:buFont typeface="Wingdings" panose="05000000000000000000" charset="0"/>
              <a:buChar char="l"/>
            </a:pPr>
            <a:r>
              <a:rPr lang="en-US"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集成测试使用Apifox的测试套件，测试套件为测试用例的集合，每个测试套件包含多个测试用例。</a:t>
            </a:r>
          </a:p>
          <a:p>
            <a:pPr marL="355600" lvl="0" indent="-355600" algn="l" fontAlgn="ctr">
              <a:lnSpc>
                <a:spcPct val="120000"/>
              </a:lnSpc>
              <a:spcBef>
                <a:spcPts val="0"/>
              </a:spcBef>
              <a:spcAft>
                <a:spcPts val="800"/>
              </a:spcAft>
              <a:buSzPct val="100000"/>
              <a:buFont typeface="Wingdings" panose="05000000000000000000" charset="0"/>
              <a:buChar char="l"/>
            </a:pPr>
            <a:r>
              <a:rPr lang="en-US"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性能测试使用JunitPerf,JunitPerf是基于装饰器的Junit扩展框架,测试中通过JunitPerf多线程调用接口测试并可以规定预计时间。</a:t>
            </a:r>
          </a:p>
        </p:txBody>
      </p:sp>
      <p:sp>
        <p:nvSpPr>
          <p:cNvPr id="3" name="灯片编号占位符 2"/>
          <p:cNvSpPr>
            <a:spLocks noGrp="1"/>
          </p:cNvSpPr>
          <p:nvPr>
            <p:ph type="sldNum" sz="quarter" idx="12"/>
          </p:nvPr>
        </p:nvSpPr>
        <p:spPr/>
        <p:txBody>
          <a:bodyPr/>
          <a:lstStyle/>
          <a:p>
            <a:fld id="{5DD3DB80-B894-403A-B48E-6FDC1A72010E}" type="slidenum">
              <a:rPr lang="zh-CN" altLang="en-US" smtClean="0"/>
              <a:t>25</a:t>
            </a:fld>
            <a:endParaRPr lang="zh-CN" altLang="en-US"/>
          </a:p>
        </p:txBody>
      </p:sp>
      <p:pic>
        <p:nvPicPr>
          <p:cNvPr id="4" name="图片 3"/>
          <p:cNvPicPr>
            <a:picLocks noChangeAspect="1"/>
          </p:cNvPicPr>
          <p:nvPr/>
        </p:nvPicPr>
        <p:blipFill>
          <a:blip r:embed="rId5"/>
          <a:stretch>
            <a:fillRect/>
          </a:stretch>
        </p:blipFill>
        <p:spPr>
          <a:xfrm>
            <a:off x="547370" y="1423670"/>
            <a:ext cx="5920740" cy="1981200"/>
          </a:xfrm>
          <a:prstGeom prst="rect">
            <a:avLst/>
          </a:prstGeom>
        </p:spPr>
      </p:pic>
      <p:pic>
        <p:nvPicPr>
          <p:cNvPr id="5" name="图片 4"/>
          <p:cNvPicPr>
            <a:picLocks noChangeAspect="1"/>
          </p:cNvPicPr>
          <p:nvPr/>
        </p:nvPicPr>
        <p:blipFill>
          <a:blip r:embed="rId6"/>
          <a:stretch>
            <a:fillRect/>
          </a:stretch>
        </p:blipFill>
        <p:spPr>
          <a:xfrm>
            <a:off x="1291590" y="3404870"/>
            <a:ext cx="4163695" cy="3307715"/>
          </a:xfrm>
          <a:prstGeom prst="rect">
            <a:avLst/>
          </a:prstGeom>
        </p:spPr>
      </p:pic>
    </p:spTree>
    <p:custDataLst>
      <p:tags r:id="rId1"/>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ïŝlíḑè"/>
        <p:cNvGrpSpPr/>
        <p:nvPr/>
      </p:nvGrpSpPr>
      <p:grpSpPr>
        <a:xfrm>
          <a:off x="0" y="0"/>
          <a:ext cx="0" cy="0"/>
          <a:chOff x="0" y="0"/>
          <a:chExt cx="0" cy="0"/>
        </a:xfrm>
      </p:grpSpPr>
      <p:sp>
        <p:nvSpPr>
          <p:cNvPr id="6" name="文本框 3"/>
          <p:cNvSpPr txBox="1"/>
          <p:nvPr>
            <p:custDataLst>
              <p:tags r:id="rId2"/>
            </p:custDataLst>
          </p:nvPr>
        </p:nvSpPr>
        <p:spPr>
          <a:xfrm>
            <a:off x="547333" y="411485"/>
            <a:ext cx="10972876" cy="819150"/>
          </a:xfrm>
          <a:prstGeom prst="rect">
            <a:avLst/>
          </a:prstGeom>
          <a:noFill/>
        </p:spPr>
        <p:txBody>
          <a:bodyPr wrap="square" lIns="63500" tIns="25400" rIns="63500" bIns="25400" rtlCol="0" anchor="t" anchorCtr="0">
            <a:normAutofit/>
          </a:bodyPr>
          <a:lstStyle/>
          <a:p>
            <a:pPr marL="0" indent="0" algn="l">
              <a:lnSpc>
                <a:spcPct val="100000"/>
              </a:lnSpc>
              <a:spcBef>
                <a:spcPts val="0"/>
              </a:spcBef>
              <a:spcAft>
                <a:spcPts val="0"/>
              </a:spcAft>
              <a:buSzPct val="100000"/>
              <a:buNone/>
            </a:pPr>
            <a:r>
              <a:rPr lang="zh-CN" altLang="zh-CN" sz="4400" b="1" spc="280" dirty="0">
                <a:solidFill>
                  <a:schemeClr val="accent1"/>
                </a:solidFill>
                <a:uFillTx/>
                <a:latin typeface="微软雅黑" panose="020B0503020204020204" pitchFamily="34" charset="-122"/>
                <a:ea typeface="微软雅黑" panose="020B0503020204020204" pitchFamily="34" charset="-122"/>
                <a:sym typeface="+mn-ea"/>
              </a:rPr>
              <a:t>持续集成</a:t>
            </a:r>
          </a:p>
        </p:txBody>
      </p:sp>
      <p:pic>
        <p:nvPicPr>
          <p:cNvPr id="7" name="图片 4"/>
          <p:cNvPicPr>
            <a:picLocks noChangeAspect="1"/>
          </p:cNvPicPr>
          <p:nvPr>
            <p:custDataLst>
              <p:tags r:id="rId3"/>
            </p:custDataLst>
          </p:nvPr>
        </p:nvPicPr>
        <p:blipFill rotWithShape="1">
          <a:blip r:embed="rId6"/>
          <a:srcRect/>
          <a:stretch>
            <a:fillRect/>
          </a:stretch>
        </p:blipFill>
        <p:spPr>
          <a:xfrm>
            <a:off x="609558" y="2042505"/>
            <a:ext cx="6191301" cy="3896995"/>
          </a:xfrm>
          <a:custGeom>
            <a:avLst/>
            <a:gdLst/>
            <a:ahLst/>
            <a:cxnLst>
              <a:cxn ang="3">
                <a:pos x="hc" y="t"/>
              </a:cxn>
              <a:cxn ang="cd2">
                <a:pos x="l" y="vc"/>
              </a:cxn>
              <a:cxn ang="cd4">
                <a:pos x="hc" y="b"/>
              </a:cxn>
              <a:cxn ang="0">
                <a:pos x="r" y="vc"/>
              </a:cxn>
            </a:cxnLst>
            <a:rect l="l" t="t" r="r" b="b"/>
            <a:pathLst>
              <a:path w="10080" h="6480">
                <a:moveTo>
                  <a:pt x="0" y="0"/>
                </a:moveTo>
                <a:lnTo>
                  <a:pt x="10080" y="0"/>
                </a:lnTo>
                <a:lnTo>
                  <a:pt x="10080" y="6480"/>
                </a:lnTo>
                <a:lnTo>
                  <a:pt x="0" y="6480"/>
                </a:lnTo>
                <a:lnTo>
                  <a:pt x="0" y="0"/>
                </a:lnTo>
                <a:close/>
              </a:path>
            </a:pathLst>
          </a:custGeom>
          <a:ln w="38100">
            <a:solidFill>
              <a:srgbClr val="000000"/>
            </a:solidFill>
          </a:ln>
        </p:spPr>
      </p:pic>
      <p:sp>
        <p:nvSpPr>
          <p:cNvPr id="11" name="Title 6"/>
          <p:cNvSpPr txBox="1"/>
          <p:nvPr>
            <p:custDataLst>
              <p:tags r:id="rId4"/>
            </p:custDataLst>
          </p:nvPr>
        </p:nvSpPr>
        <p:spPr>
          <a:xfrm>
            <a:off x="7258068" y="3257550"/>
            <a:ext cx="4324375" cy="1466850"/>
          </a:xfrm>
          <a:prstGeom prst="rect">
            <a:avLst/>
          </a:prstGeom>
          <a:noFill/>
          <a:ln w="3175">
            <a:noFill/>
            <a:prstDash val="dash"/>
          </a:ln>
        </p:spPr>
        <p:txBody>
          <a:bodyPr wrap="square" lIns="63500" tIns="25400" rIns="63500" bIns="25400" anchor="ctr" anchorCtr="0">
            <a:normAutofit/>
          </a:bodyPr>
          <a:lstStyle>
            <a:lvl1pPr algn="l" defTabSz="913765"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anose="020B0502040204020203" pitchFamily="34" charset="0"/>
              </a:defRPr>
            </a:lvl1pPr>
          </a:lstStyle>
          <a:p>
            <a:pPr marL="0" lvl="0" indent="0" algn="l" fontAlgn="auto">
              <a:lnSpc>
                <a:spcPct val="120000"/>
              </a:lnSpc>
              <a:spcBef>
                <a:spcPts val="0"/>
              </a:spcBef>
              <a:spcAft>
                <a:spcPts val="800"/>
              </a:spcAft>
              <a:buSzPct val="100000"/>
              <a:buNone/>
            </a:pPr>
            <a:r>
              <a:rPr lang="zh-CN" altLang="en-US" sz="2200" spc="14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使用Jenkins部署，代码仓库更新后自动部署，避免人工频繁打包重新部署。</a:t>
            </a:r>
          </a:p>
        </p:txBody>
      </p:sp>
      <p:sp>
        <p:nvSpPr>
          <p:cNvPr id="3" name="灯片编号占位符 2"/>
          <p:cNvSpPr>
            <a:spLocks noGrp="1"/>
          </p:cNvSpPr>
          <p:nvPr>
            <p:ph type="sldNum" sz="quarter" idx="12"/>
          </p:nvPr>
        </p:nvSpPr>
        <p:spPr/>
        <p:txBody>
          <a:bodyPr/>
          <a:lstStyle/>
          <a:p>
            <a:fld id="{5DD3DB80-B894-403A-B48E-6FDC1A72010E}" type="slidenum">
              <a:rPr lang="zh-CN" altLang="en-US" smtClean="0"/>
              <a:t>26</a:t>
            </a:fld>
            <a:endParaRPr lang="zh-CN" altLang="en-US"/>
          </a:p>
        </p:txBody>
      </p:sp>
    </p:spTree>
    <p:custDataLst>
      <p:tags r:id="rId1"/>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iṧ1îḑé"/>
        <p:cNvGrpSpPr/>
        <p:nvPr/>
      </p:nvGrpSpPr>
      <p:grpSpPr>
        <a:xfrm>
          <a:off x="0" y="0"/>
          <a:ext cx="0" cy="0"/>
          <a:chOff x="0" y="0"/>
          <a:chExt cx="0" cy="0"/>
        </a:xfrm>
      </p:grpSpPr>
      <p:graphicFrame>
        <p:nvGraphicFramePr>
          <p:cNvPr id="3" name="ïṩḻiḓé"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 name="think-cell Slide" r:id="rId5" imgW="9525" imgH="9525" progId="TCLayout.ActiveDocument.1">
                  <p:embed/>
                </p:oleObj>
              </mc:Choice>
              <mc:Fallback>
                <p:oleObj name="think-cell Slide" r:id="rId5" imgW="9525" imgH="9525" progId="TCLayout.ActiveDocument.1">
                  <p:embed/>
                  <p:pic>
                    <p:nvPicPr>
                      <p:cNvPr id="0" name="í$ļiḋe"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îşlîḍe"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îṡ1íḍê"/>
          <p:cNvSpPr>
            <a:spLocks noGrp="1"/>
          </p:cNvSpPr>
          <p:nvPr>
            <p:ph type="ctrTitle"/>
          </p:nvPr>
        </p:nvSpPr>
        <p:spPr/>
        <p:txBody>
          <a:bodyPr/>
          <a:lstStyle/>
          <a:p>
            <a:r>
              <a:rPr lang="zh-CN" altLang="zh-CN" dirty="0">
                <a:sym typeface="+mn-ea"/>
              </a:rPr>
              <a:t>项目相关工作量统计数据</a:t>
            </a:r>
            <a:endParaRPr lang="zh-CN" altLang="en-US" dirty="0"/>
          </a:p>
        </p:txBody>
      </p:sp>
      <p:sp>
        <p:nvSpPr>
          <p:cNvPr id="8" name="ïŝľîḓe"/>
          <p:cNvSpPr txBox="1"/>
          <p:nvPr/>
        </p:nvSpPr>
        <p:spPr>
          <a:xfrm>
            <a:off x="1428307" y="3104594"/>
            <a:ext cx="1023516" cy="889909"/>
          </a:xfrm>
          <a:prstGeom prst="rect">
            <a:avLst/>
          </a:prstGeom>
          <a:noFill/>
          <a:ln w="117475">
            <a:noFill/>
          </a:ln>
        </p:spPr>
        <p:txBody>
          <a:bodyPr wrap="none" rtlCol="0">
            <a:prstTxWarp prst="textPlain">
              <a:avLst/>
            </a:prstTxWarp>
            <a:spAutoFit/>
          </a:bodyPr>
          <a:lstStyle/>
          <a:p>
            <a:r>
              <a:rPr lang="en-US" altLang="zh-CN" spc="100">
                <a:solidFill>
                  <a:schemeClr val="accent1"/>
                </a:solidFill>
                <a:latin typeface="Impact" panose="020B0806030902050204" pitchFamily="34" charset="0"/>
                <a:cs typeface="Arial" panose="020B0604020202020204" pitchFamily="34" charset="0"/>
              </a:rPr>
              <a:t>/05</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3"/>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ïŝlíḑè"/>
        <p:cNvGrpSpPr/>
        <p:nvPr/>
      </p:nvGrpSpPr>
      <p:grpSpPr>
        <a:xfrm>
          <a:off x="0" y="0"/>
          <a:ext cx="0" cy="0"/>
          <a:chOff x="0" y="0"/>
          <a:chExt cx="0" cy="0"/>
        </a:xfrm>
      </p:grpSpPr>
      <p:sp>
        <p:nvSpPr>
          <p:cNvPr id="3" name="矩形 0"/>
          <p:cNvSpPr/>
          <p:nvPr>
            <p:custDataLst>
              <p:tags r:id="rId2"/>
            </p:custDataLst>
          </p:nvPr>
        </p:nvSpPr>
        <p:spPr>
          <a:xfrm>
            <a:off x="609579" y="1937201"/>
            <a:ext cx="10972888" cy="4303191"/>
          </a:xfrm>
          <a:prstGeom prst="rect">
            <a:avLst/>
          </a:prstGeom>
          <a:solidFill>
            <a:schemeClr val="lt2"/>
          </a:solidFill>
          <a:ln>
            <a:noFill/>
          </a:ln>
          <a:effectLst>
            <a:outerShdw blurRad="2540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r>
              <a:rPr lang="en-US" altLang="zh-CN" dirty="0">
                <a:solidFill>
                  <a:schemeClr val="lt1"/>
                </a:solidFill>
                <a:latin typeface="微软雅黑" panose="020B0503020204020204" pitchFamily="34" charset="-122"/>
                <a:ea typeface="微软雅黑" panose="020B0503020204020204" pitchFamily="34" charset="-122"/>
              </a:rPr>
              <a:t>2</a:t>
            </a:r>
          </a:p>
        </p:txBody>
      </p:sp>
      <p:sp>
        <p:nvSpPr>
          <p:cNvPr id="8" name="文本框 4"/>
          <p:cNvSpPr txBox="1"/>
          <p:nvPr>
            <p:custDataLst>
              <p:tags r:id="rId3"/>
            </p:custDataLst>
          </p:nvPr>
        </p:nvSpPr>
        <p:spPr>
          <a:xfrm>
            <a:off x="487642" y="373385"/>
            <a:ext cx="10972876" cy="975360"/>
          </a:xfrm>
          <a:prstGeom prst="rect">
            <a:avLst/>
          </a:prstGeom>
          <a:noFill/>
        </p:spPr>
        <p:txBody>
          <a:bodyPr wrap="square" lIns="63500" tIns="25400" rIns="63500" bIns="25400" rtlCol="0" anchor="t" anchorCtr="0">
            <a:normAutofit/>
          </a:bodyPr>
          <a:lstStyle/>
          <a:p>
            <a:pPr marL="0" indent="0" algn="l">
              <a:lnSpc>
                <a:spcPct val="100000"/>
              </a:lnSpc>
              <a:spcBef>
                <a:spcPts val="0"/>
              </a:spcBef>
              <a:spcAft>
                <a:spcPts val="0"/>
              </a:spcAft>
              <a:buSzPct val="100000"/>
              <a:buNone/>
            </a:pPr>
            <a:r>
              <a:rPr lang="zh-CN" altLang="zh-CN" sz="2800" b="1" spc="360" dirty="0">
                <a:solidFill>
                  <a:schemeClr val="accent1"/>
                </a:solidFill>
                <a:uFillTx/>
                <a:latin typeface="微软雅黑" panose="020B0503020204020204" pitchFamily="34" charset="-122"/>
                <a:ea typeface="微软雅黑" panose="020B0503020204020204" pitchFamily="34" charset="-122"/>
                <a:sym typeface="+mn-ea"/>
              </a:rPr>
              <a:t>项目相关工作量统计数据</a:t>
            </a:r>
          </a:p>
        </p:txBody>
      </p:sp>
      <p:pic>
        <p:nvPicPr>
          <p:cNvPr id="10" name="Picture 9" descr="placingpictureplaceholder"/>
          <p:cNvPicPr>
            <a:picLocks noChangeAspect="1"/>
          </p:cNvPicPr>
          <p:nvPr>
            <p:custDataLst>
              <p:tags r:id="rId4"/>
            </p:custDataLst>
          </p:nvPr>
        </p:nvPicPr>
        <p:blipFill>
          <a:blip r:embed="rId8"/>
          <a:srcRect/>
          <a:stretch>
            <a:fillRect/>
          </a:stretch>
        </p:blipFill>
        <p:spPr>
          <a:xfrm>
            <a:off x="2018603" y="3040395"/>
            <a:ext cx="8163908" cy="1817237"/>
          </a:xfrm>
          <a:prstGeom prst="rect">
            <a:avLst/>
          </a:prstGeom>
        </p:spPr>
      </p:pic>
      <p:pic>
        <p:nvPicPr>
          <p:cNvPr id="11" name="Picture 10" descr="placingpictureplaceholder"/>
          <p:cNvPicPr>
            <a:picLocks noChangeAspect="1"/>
          </p:cNvPicPr>
          <p:nvPr>
            <p:custDataLst>
              <p:tags r:id="rId5"/>
            </p:custDataLst>
          </p:nvPr>
        </p:nvPicPr>
        <p:blipFill>
          <a:blip r:embed="rId9"/>
          <a:srcRect/>
          <a:stretch>
            <a:fillRect/>
          </a:stretch>
        </p:blipFill>
        <p:spPr>
          <a:xfrm>
            <a:off x="2017968" y="4983362"/>
            <a:ext cx="8163908" cy="773576"/>
          </a:xfrm>
          <a:prstGeom prst="rect">
            <a:avLst/>
          </a:prstGeom>
        </p:spPr>
      </p:pic>
      <p:sp>
        <p:nvSpPr>
          <p:cNvPr id="9" name="Title 6"/>
          <p:cNvSpPr txBox="1"/>
          <p:nvPr>
            <p:custDataLst>
              <p:tags r:id="rId6"/>
            </p:custDataLst>
          </p:nvPr>
        </p:nvSpPr>
        <p:spPr>
          <a:xfrm>
            <a:off x="746746" y="2122211"/>
            <a:ext cx="10363276" cy="762000"/>
          </a:xfrm>
          <a:prstGeom prst="rect">
            <a:avLst/>
          </a:prstGeom>
          <a:noFill/>
          <a:ln w="3175">
            <a:noFill/>
            <a:prstDash val="dash"/>
          </a:ln>
        </p:spPr>
        <p:txBody>
          <a:bodyPr wrap="square" lIns="63500" tIns="25400" rIns="63500" bIns="25400" anchor="ctr" anchorCtr="0">
            <a:normAutofit/>
          </a:bodyPr>
          <a:lstStyle>
            <a:lvl1pPr algn="l" defTabSz="913765"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anose="020B0502040204020203" pitchFamily="34" charset="0"/>
              </a:defRPr>
            </a:lvl1pPr>
          </a:lstStyle>
          <a:p>
            <a:pPr marL="0" lvl="0" indent="0" algn="ctr" fontAlgn="auto">
              <a:lnSpc>
                <a:spcPct val="100000"/>
              </a:lnSpc>
              <a:spcBef>
                <a:spcPts val="0"/>
              </a:spcBef>
              <a:spcAft>
                <a:spcPts val="800"/>
              </a:spcAft>
              <a:buSzPct val="100000"/>
              <a:buNone/>
            </a:pPr>
            <a:r>
              <a:rPr lang="zh-CN" altLang="en-US" sz="1800" spc="20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小组成员代码量如下：</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t>28</a:t>
            </a:fld>
            <a:endParaRPr lang="zh-CN" altLang="en-US"/>
          </a:p>
        </p:txBody>
      </p:sp>
    </p:spTree>
    <p:custDataLst>
      <p:tags r:id="rId1"/>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ïŝlíḑè"/>
        <p:cNvGrpSpPr/>
        <p:nvPr/>
      </p:nvGrpSpPr>
      <p:grpSpPr>
        <a:xfrm>
          <a:off x="0" y="0"/>
          <a:ext cx="0" cy="0"/>
          <a:chOff x="0" y="0"/>
          <a:chExt cx="0" cy="0"/>
        </a:xfrm>
      </p:grpSpPr>
      <p:sp>
        <p:nvSpPr>
          <p:cNvPr id="13" name="矩形 4"/>
          <p:cNvSpPr/>
          <p:nvPr>
            <p:custDataLst>
              <p:tags r:id="rId2"/>
            </p:custDataLst>
          </p:nvPr>
        </p:nvSpPr>
        <p:spPr>
          <a:xfrm>
            <a:off x="609555" y="1524000"/>
            <a:ext cx="7239000" cy="4724400"/>
          </a:xfrm>
          <a:prstGeom prst="rect">
            <a:avLst/>
          </a:prstGeom>
          <a:solidFill>
            <a:schemeClr val="lt1"/>
          </a:solidFill>
          <a:ln>
            <a:noFill/>
          </a:ln>
          <a:effectLst>
            <a:outerShdw blurRad="215900" dist="38100" dir="5400000" algn="t"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lt1"/>
              </a:solidFill>
              <a:latin typeface="微软雅黑" panose="020B0503020204020204" pitchFamily="34" charset="-122"/>
              <a:ea typeface="微软雅黑" panose="020B0503020204020204" pitchFamily="34" charset="-122"/>
            </a:endParaRPr>
          </a:p>
        </p:txBody>
      </p:sp>
      <p:sp>
        <p:nvSpPr>
          <p:cNvPr id="14" name="直角三角形 2"/>
          <p:cNvSpPr/>
          <p:nvPr>
            <p:custDataLst>
              <p:tags r:id="rId3"/>
            </p:custDataLst>
          </p:nvPr>
        </p:nvSpPr>
        <p:spPr>
          <a:xfrm flipH="1">
            <a:off x="7086555" y="5486400"/>
            <a:ext cx="762000" cy="762000"/>
          </a:xfrm>
          <a:prstGeom prst="rtTriangle">
            <a:avLst/>
          </a:prstGeom>
          <a:solidFill>
            <a:schemeClr val="lt1"/>
          </a:solidFill>
          <a:ln>
            <a:noFill/>
          </a:ln>
          <a:effectLst>
            <a:outerShdw blurRad="215900" dist="38100" dir="5400000" algn="t"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lt1"/>
              </a:solidFill>
              <a:latin typeface="微软雅黑" panose="020B0503020204020204" pitchFamily="34" charset="-122"/>
              <a:ea typeface="微软雅黑" panose="020B0503020204020204" pitchFamily="34" charset="-122"/>
            </a:endParaRPr>
          </a:p>
        </p:txBody>
      </p:sp>
      <p:sp>
        <p:nvSpPr>
          <p:cNvPr id="15" name="直角三角形 1"/>
          <p:cNvSpPr/>
          <p:nvPr>
            <p:custDataLst>
              <p:tags r:id="rId4"/>
            </p:custDataLst>
          </p:nvPr>
        </p:nvSpPr>
        <p:spPr>
          <a:xfrm flipV="1">
            <a:off x="609555" y="1524000"/>
            <a:ext cx="762000" cy="762000"/>
          </a:xfrm>
          <a:prstGeom prst="rtTriangle">
            <a:avLst/>
          </a:prstGeom>
          <a:solidFill>
            <a:schemeClr val="lt1"/>
          </a:solidFill>
          <a:ln>
            <a:noFill/>
          </a:ln>
          <a:effectLst>
            <a:outerShdw blurRad="215900" dist="38100" dir="5400000" algn="t"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lt1"/>
              </a:solidFill>
              <a:latin typeface="微软雅黑" panose="020B0503020204020204" pitchFamily="34" charset="-122"/>
              <a:ea typeface="微软雅黑" panose="020B0503020204020204" pitchFamily="34" charset="-122"/>
            </a:endParaRPr>
          </a:p>
        </p:txBody>
      </p:sp>
      <p:sp>
        <p:nvSpPr>
          <p:cNvPr id="16" name="文本框 7"/>
          <p:cNvSpPr txBox="1"/>
          <p:nvPr>
            <p:custDataLst>
              <p:tags r:id="rId5"/>
            </p:custDataLst>
          </p:nvPr>
        </p:nvSpPr>
        <p:spPr>
          <a:xfrm>
            <a:off x="609562" y="434345"/>
            <a:ext cx="10972876" cy="609600"/>
          </a:xfrm>
          <a:prstGeom prst="rect">
            <a:avLst/>
          </a:prstGeom>
          <a:noFill/>
        </p:spPr>
        <p:txBody>
          <a:bodyPr wrap="square" lIns="63500" tIns="25400" rIns="63500" bIns="25400" rtlCol="0" anchor="b" anchorCtr="0">
            <a:normAutofit/>
          </a:bodyPr>
          <a:lstStyle/>
          <a:p>
            <a:pPr marL="0" indent="0" algn="l">
              <a:lnSpc>
                <a:spcPct val="100000"/>
              </a:lnSpc>
              <a:spcBef>
                <a:spcPts val="0"/>
              </a:spcBef>
              <a:spcAft>
                <a:spcPts val="0"/>
              </a:spcAft>
              <a:buSzPct val="100000"/>
              <a:buNone/>
            </a:pPr>
            <a:r>
              <a:rPr lang="zh-CN" altLang="zh-CN" sz="3200" b="1" spc="160" dirty="0">
                <a:solidFill>
                  <a:schemeClr val="accent1"/>
                </a:solidFill>
                <a:uFillTx/>
                <a:latin typeface="微软雅黑" panose="020B0503020204020204" pitchFamily="34" charset="-122"/>
                <a:ea typeface="微软雅黑" panose="020B0503020204020204" pitchFamily="34" charset="-122"/>
                <a:sym typeface="+mn-ea"/>
              </a:rPr>
              <a:t>项目相关工作量统计数据</a:t>
            </a:r>
          </a:p>
        </p:txBody>
      </p:sp>
      <p:graphicFrame>
        <p:nvGraphicFramePr>
          <p:cNvPr id="18" name="表格 2"/>
          <p:cNvGraphicFramePr>
            <a:graphicFrameLocks noGrp="1"/>
          </p:cNvGraphicFramePr>
          <p:nvPr>
            <p:custDataLst>
              <p:tags r:id="rId6"/>
            </p:custDataLst>
          </p:nvPr>
        </p:nvGraphicFramePr>
        <p:xfrm>
          <a:off x="1706880" y="2367915"/>
          <a:ext cx="5156200" cy="3225165"/>
        </p:xfrm>
        <a:graphic>
          <a:graphicData uri="http://schemas.openxmlformats.org/drawingml/2006/table">
            <a:tbl>
              <a:tblPr firstRow="1" bandRow="1">
                <a:tableStyleId>{5C22544A-7EE6-4342-B048-85BDC9FD1C3A}</a:tableStyleId>
              </a:tblPr>
              <a:tblGrid>
                <a:gridCol w="2265045">
                  <a:extLst>
                    <a:ext uri="{9D8B030D-6E8A-4147-A177-3AD203B41FA5}">
                      <a16:colId xmlns:a16="http://schemas.microsoft.com/office/drawing/2014/main" val="20000"/>
                    </a:ext>
                  </a:extLst>
                </a:gridCol>
                <a:gridCol w="1283970">
                  <a:extLst>
                    <a:ext uri="{9D8B030D-6E8A-4147-A177-3AD203B41FA5}">
                      <a16:colId xmlns:a16="http://schemas.microsoft.com/office/drawing/2014/main" val="20001"/>
                    </a:ext>
                  </a:extLst>
                </a:gridCol>
                <a:gridCol w="1607185">
                  <a:extLst>
                    <a:ext uri="{9D8B030D-6E8A-4147-A177-3AD203B41FA5}">
                      <a16:colId xmlns:a16="http://schemas.microsoft.com/office/drawing/2014/main" val="20002"/>
                    </a:ext>
                  </a:extLst>
                </a:gridCol>
              </a:tblGrid>
              <a:tr h="1637665">
                <a:tc>
                  <a:txBody>
                    <a:bodyPr/>
                    <a:lstStyle/>
                    <a:p>
                      <a:pPr lvl="0" algn="ctr">
                        <a:lnSpc>
                          <a:spcPct val="120000"/>
                        </a:lnSpc>
                        <a:spcBef>
                          <a:spcPts val="0"/>
                        </a:spcBef>
                        <a:spcAft>
                          <a:spcPts val="0"/>
                        </a:spcAft>
                      </a:pPr>
                      <a:r>
                        <a:rPr lang="zh-CN" altLang="en-US" sz="2200" dirty="0">
                          <a:latin typeface="微软雅黑" panose="020B0503020204020204" pitchFamily="34" charset="-122"/>
                        </a:rPr>
                        <a:t>名称</a:t>
                      </a:r>
                    </a:p>
                  </a:txBody>
                  <a:tcPr marL="317500" marR="317500" marT="215900" marB="215900" anchor="ctr"/>
                </a:tc>
                <a:tc>
                  <a:txBody>
                    <a:bodyPr/>
                    <a:lstStyle/>
                    <a:p>
                      <a:pPr lvl="0" algn="ctr">
                        <a:lnSpc>
                          <a:spcPct val="120000"/>
                        </a:lnSpc>
                        <a:spcBef>
                          <a:spcPts val="0"/>
                        </a:spcBef>
                        <a:spcAft>
                          <a:spcPts val="0"/>
                        </a:spcAft>
                      </a:pPr>
                      <a:r>
                        <a:rPr lang="zh-CN" altLang="en-US" sz="2200" dirty="0">
                          <a:latin typeface="微软雅黑" panose="020B0503020204020204" pitchFamily="34" charset="-122"/>
                        </a:rPr>
                        <a:t>文件数</a:t>
                      </a:r>
                    </a:p>
                  </a:txBody>
                  <a:tcPr marL="317500" marR="317500" marT="215900" marB="215900" anchor="ctr"/>
                </a:tc>
                <a:tc>
                  <a:txBody>
                    <a:bodyPr/>
                    <a:lstStyle/>
                    <a:p>
                      <a:pPr lvl="0" algn="ctr">
                        <a:lnSpc>
                          <a:spcPct val="120000"/>
                        </a:lnSpc>
                        <a:spcBef>
                          <a:spcPts val="0"/>
                        </a:spcBef>
                        <a:spcAft>
                          <a:spcPts val="0"/>
                        </a:spcAft>
                      </a:pPr>
                      <a:r>
                        <a:rPr lang="zh-CN" altLang="en-US" sz="2200" dirty="0">
                          <a:latin typeface="微软雅黑" panose="020B0503020204020204" pitchFamily="34" charset="-122"/>
                        </a:rPr>
                        <a:t>总行数</a:t>
                      </a:r>
                    </a:p>
                  </a:txBody>
                  <a:tcPr marL="317500" marR="317500" marT="215900" marB="215900" anchor="ctr"/>
                </a:tc>
                <a:extLst>
                  <a:ext uri="{0D108BD9-81ED-4DB2-BD59-A6C34878D82A}">
                    <a16:rowId xmlns:a16="http://schemas.microsoft.com/office/drawing/2014/main" val="10000"/>
                  </a:ext>
                </a:extLst>
              </a:tr>
              <a:tr h="789940">
                <a:tc>
                  <a:txBody>
                    <a:bodyPr/>
                    <a:lstStyle/>
                    <a:p>
                      <a:pPr lvl="0" algn="ctr">
                        <a:lnSpc>
                          <a:spcPct val="120000"/>
                        </a:lnSpc>
                        <a:spcBef>
                          <a:spcPts val="0"/>
                        </a:spcBef>
                        <a:spcAft>
                          <a:spcPts val="0"/>
                        </a:spcAft>
                      </a:pPr>
                      <a:r>
                        <a:rPr lang="en-US" altLang="zh-CN" sz="2000" spc="130" dirty="0">
                          <a:latin typeface="微软雅黑" panose="020B0503020204020204" pitchFamily="34" charset="-122"/>
                          <a:cs typeface="微软雅黑" panose="020B0503020204020204" pitchFamily="34" charset="-122"/>
                        </a:rPr>
                        <a:t>Java</a:t>
                      </a:r>
                    </a:p>
                  </a:txBody>
                  <a:tcPr marL="317500" marR="317500" marT="215900" marB="215900" anchor="ctr"/>
                </a:tc>
                <a:tc>
                  <a:txBody>
                    <a:bodyPr/>
                    <a:lstStyle/>
                    <a:p>
                      <a:pPr lvl="0" algn="ctr">
                        <a:lnSpc>
                          <a:spcPct val="120000"/>
                        </a:lnSpc>
                        <a:spcBef>
                          <a:spcPts val="0"/>
                        </a:spcBef>
                        <a:spcAft>
                          <a:spcPts val="0"/>
                        </a:spcAft>
                      </a:pPr>
                      <a:r>
                        <a:rPr lang="en-US" altLang="zh-CN" sz="2000" spc="130" dirty="0">
                          <a:latin typeface="微软雅黑" panose="020B0503020204020204" pitchFamily="34" charset="-122"/>
                          <a:cs typeface="微软雅黑" panose="020B0503020204020204" pitchFamily="34" charset="-122"/>
                        </a:rPr>
                        <a:t>114</a:t>
                      </a:r>
                    </a:p>
                  </a:txBody>
                  <a:tcPr marL="317500" marR="317500" marT="215900" marB="215900" anchor="ctr"/>
                </a:tc>
                <a:tc>
                  <a:txBody>
                    <a:bodyPr/>
                    <a:lstStyle/>
                    <a:p>
                      <a:pPr lvl="0" algn="ctr">
                        <a:lnSpc>
                          <a:spcPct val="120000"/>
                        </a:lnSpc>
                        <a:spcBef>
                          <a:spcPts val="0"/>
                        </a:spcBef>
                        <a:spcAft>
                          <a:spcPts val="0"/>
                        </a:spcAft>
                      </a:pPr>
                      <a:r>
                        <a:rPr lang="en-US" altLang="zh-CN" sz="2000" spc="130" dirty="0">
                          <a:latin typeface="微软雅黑" panose="020B0503020204020204" pitchFamily="34" charset="-122"/>
                          <a:cs typeface="微软雅黑" panose="020B0503020204020204" pitchFamily="34" charset="-122"/>
                        </a:rPr>
                        <a:t>19163</a:t>
                      </a:r>
                    </a:p>
                  </a:txBody>
                  <a:tcPr marL="317500" marR="317500" marT="215900" marB="215900" anchor="ctr"/>
                </a:tc>
                <a:extLst>
                  <a:ext uri="{0D108BD9-81ED-4DB2-BD59-A6C34878D82A}">
                    <a16:rowId xmlns:a16="http://schemas.microsoft.com/office/drawing/2014/main" val="10001"/>
                  </a:ext>
                </a:extLst>
              </a:tr>
              <a:tr h="797560">
                <a:tc>
                  <a:txBody>
                    <a:bodyPr/>
                    <a:lstStyle/>
                    <a:p>
                      <a:pPr lvl="0" algn="ctr">
                        <a:lnSpc>
                          <a:spcPct val="120000"/>
                        </a:lnSpc>
                        <a:spcBef>
                          <a:spcPts val="0"/>
                        </a:spcBef>
                        <a:spcAft>
                          <a:spcPts val="0"/>
                        </a:spcAft>
                      </a:pPr>
                      <a:r>
                        <a:rPr lang="en-US" altLang="zh-CN" sz="2000" spc="130" dirty="0">
                          <a:latin typeface="微软雅黑" panose="020B0503020204020204" pitchFamily="34" charset="-122"/>
                          <a:cs typeface="微软雅黑" panose="020B0503020204020204" pitchFamily="34" charset="-122"/>
                        </a:rPr>
                        <a:t>Python</a:t>
                      </a:r>
                    </a:p>
                  </a:txBody>
                  <a:tcPr marL="317500" marR="317500" marT="215900" marB="215900" anchor="ctr"/>
                </a:tc>
                <a:tc>
                  <a:txBody>
                    <a:bodyPr/>
                    <a:lstStyle/>
                    <a:p>
                      <a:pPr lvl="0" algn="ctr">
                        <a:lnSpc>
                          <a:spcPct val="120000"/>
                        </a:lnSpc>
                        <a:spcBef>
                          <a:spcPts val="0"/>
                        </a:spcBef>
                        <a:spcAft>
                          <a:spcPts val="0"/>
                        </a:spcAft>
                      </a:pPr>
                      <a:r>
                        <a:rPr lang="en-US" altLang="zh-CN" sz="2000" spc="130" dirty="0">
                          <a:latin typeface="微软雅黑" panose="020B0503020204020204" pitchFamily="34" charset="-122"/>
                          <a:cs typeface="微软雅黑" panose="020B0503020204020204" pitchFamily="34" charset="-122"/>
                        </a:rPr>
                        <a:t>16</a:t>
                      </a:r>
                    </a:p>
                  </a:txBody>
                  <a:tcPr marL="317500" marR="317500" marT="215900" marB="215900" anchor="ctr"/>
                </a:tc>
                <a:tc>
                  <a:txBody>
                    <a:bodyPr/>
                    <a:lstStyle/>
                    <a:p>
                      <a:pPr lvl="0" algn="ctr">
                        <a:lnSpc>
                          <a:spcPct val="120000"/>
                        </a:lnSpc>
                        <a:spcBef>
                          <a:spcPts val="0"/>
                        </a:spcBef>
                        <a:spcAft>
                          <a:spcPts val="0"/>
                        </a:spcAft>
                      </a:pPr>
                      <a:r>
                        <a:rPr lang="en-US" altLang="zh-CN" sz="2000" spc="130" dirty="0">
                          <a:latin typeface="微软雅黑" panose="020B0503020204020204" pitchFamily="34" charset="-122"/>
                          <a:cs typeface="微软雅黑" panose="020B0503020204020204" pitchFamily="34" charset="-122"/>
                        </a:rPr>
                        <a:t>2690</a:t>
                      </a:r>
                    </a:p>
                  </a:txBody>
                  <a:tcPr marL="317500" marR="317500" marT="215900" marB="215900" anchor="ctr"/>
                </a:tc>
                <a:extLst>
                  <a:ext uri="{0D108BD9-81ED-4DB2-BD59-A6C34878D82A}">
                    <a16:rowId xmlns:a16="http://schemas.microsoft.com/office/drawing/2014/main" val="10002"/>
                  </a:ext>
                </a:extLst>
              </a:tr>
            </a:tbl>
          </a:graphicData>
        </a:graphic>
      </p:graphicFrame>
      <p:sp>
        <p:nvSpPr>
          <p:cNvPr id="17" name="Title 6"/>
          <p:cNvSpPr txBox="1"/>
          <p:nvPr>
            <p:custDataLst>
              <p:tags r:id="rId7"/>
            </p:custDataLst>
          </p:nvPr>
        </p:nvSpPr>
        <p:spPr>
          <a:xfrm>
            <a:off x="8243585" y="1523752"/>
            <a:ext cx="3276625" cy="4726038"/>
          </a:xfrm>
          <a:prstGeom prst="rect">
            <a:avLst/>
          </a:prstGeom>
          <a:noFill/>
          <a:ln w="3175">
            <a:noFill/>
            <a:prstDash val="dash"/>
          </a:ln>
        </p:spPr>
        <p:txBody>
          <a:bodyPr wrap="square" lIns="63500" tIns="25400" rIns="63500" bIns="25400" anchor="ctr" anchorCtr="0">
            <a:normAutofit/>
          </a:bodyPr>
          <a:lstStyle>
            <a:lvl1pPr algn="l" defTabSz="913765"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anose="020B0502040204020203" pitchFamily="34" charset="0"/>
              </a:defRPr>
            </a:lvl1pPr>
          </a:lstStyle>
          <a:p>
            <a:pPr lvl="0" indent="0" algn="l" fontAlgn="ctr">
              <a:lnSpc>
                <a:spcPct val="120000"/>
              </a:lnSpc>
              <a:spcBef>
                <a:spcPts val="0"/>
              </a:spcBef>
              <a:spcAft>
                <a:spcPts val="800"/>
              </a:spcAft>
              <a:buSzPct val="100000"/>
              <a:buFont typeface="Wingdings" panose="05000000000000000000" charset="0"/>
            </a:pPr>
            <a:r>
              <a:rPr lang="zh-CN" altLang="en-US" sz="1400" spc="16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信息子模块包括：用户管理、角色管理、菜单管理、权限管理、公司管理、公司认证六部分</a:t>
            </a:r>
          </a:p>
          <a:p>
            <a:pPr lvl="0" indent="0" algn="l" fontAlgn="ctr">
              <a:lnSpc>
                <a:spcPct val="120000"/>
              </a:lnSpc>
              <a:spcBef>
                <a:spcPts val="0"/>
              </a:spcBef>
              <a:spcAft>
                <a:spcPts val="800"/>
              </a:spcAft>
              <a:buSzPct val="100000"/>
              <a:buFont typeface="Wingdings" panose="05000000000000000000" charset="0"/>
            </a:pPr>
            <a:endParaRPr lang="zh-CN" altLang="en-US" sz="1400" spc="16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endParaRPr>
          </a:p>
          <a:p>
            <a:pPr lvl="0" indent="0" algn="l" fontAlgn="ctr">
              <a:lnSpc>
                <a:spcPct val="120000"/>
              </a:lnSpc>
              <a:spcBef>
                <a:spcPts val="0"/>
              </a:spcBef>
              <a:spcAft>
                <a:spcPts val="800"/>
              </a:spcAft>
              <a:buSzPct val="100000"/>
              <a:buFont typeface="Wingdings" panose="05000000000000000000" charset="0"/>
            </a:pPr>
            <a:r>
              <a:rPr lang="zh-CN" altLang="en-US" sz="1400" spc="16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流程管理包括：</a:t>
            </a:r>
          </a:p>
          <a:p>
            <a:pPr lvl="0" indent="0" algn="l" fontAlgn="ctr">
              <a:lnSpc>
                <a:spcPct val="120000"/>
              </a:lnSpc>
              <a:spcBef>
                <a:spcPts val="0"/>
              </a:spcBef>
              <a:spcAft>
                <a:spcPts val="800"/>
              </a:spcAft>
              <a:buSzPct val="100000"/>
              <a:buFont typeface="Wingdings" panose="05000000000000000000" charset="0"/>
            </a:pPr>
            <a:r>
              <a:rPr altLang="zh-CN" sz="1400" spc="16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400" spc="16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 委托管理</a:t>
            </a:r>
          </a:p>
          <a:p>
            <a:pPr lvl="0" indent="0" algn="l" fontAlgn="ctr">
              <a:lnSpc>
                <a:spcPct val="120000"/>
              </a:lnSpc>
              <a:spcBef>
                <a:spcPts val="0"/>
              </a:spcBef>
              <a:spcAft>
                <a:spcPts val="800"/>
              </a:spcAft>
              <a:buSzPct val="100000"/>
              <a:buFont typeface="Wingdings" panose="05000000000000000000" charset="0"/>
            </a:pPr>
            <a:r>
              <a:rPr altLang="zh-CN" sz="1400" spc="16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400" spc="16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 合同管理</a:t>
            </a:r>
          </a:p>
          <a:p>
            <a:pPr lvl="0" indent="0" algn="l" fontAlgn="ctr">
              <a:lnSpc>
                <a:spcPct val="120000"/>
              </a:lnSpc>
              <a:spcBef>
                <a:spcPts val="0"/>
              </a:spcBef>
              <a:spcAft>
                <a:spcPts val="800"/>
              </a:spcAft>
              <a:buSzPct val="100000"/>
              <a:buFont typeface="Wingdings" panose="05000000000000000000" charset="0"/>
            </a:pPr>
            <a:r>
              <a:rPr altLang="zh-CN" sz="1400" spc="16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400" spc="16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 样品管理</a:t>
            </a:r>
          </a:p>
          <a:p>
            <a:pPr lvl="0" indent="0" algn="l" fontAlgn="ctr">
              <a:lnSpc>
                <a:spcPct val="120000"/>
              </a:lnSpc>
              <a:spcBef>
                <a:spcPts val="0"/>
              </a:spcBef>
              <a:spcAft>
                <a:spcPts val="800"/>
              </a:spcAft>
              <a:buSzPct val="100000"/>
              <a:buFont typeface="Wingdings" panose="05000000000000000000" charset="0"/>
            </a:pPr>
            <a:r>
              <a:rPr altLang="zh-CN" sz="1400" spc="16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400" spc="16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 测试方案管理</a:t>
            </a:r>
          </a:p>
          <a:p>
            <a:pPr lvl="0" indent="0" algn="l" fontAlgn="ctr">
              <a:lnSpc>
                <a:spcPct val="120000"/>
              </a:lnSpc>
              <a:spcBef>
                <a:spcPts val="0"/>
              </a:spcBef>
              <a:spcAft>
                <a:spcPts val="800"/>
              </a:spcAft>
              <a:buSzPct val="100000"/>
              <a:buFont typeface="Wingdings" panose="05000000000000000000" charset="0"/>
            </a:pPr>
            <a:r>
              <a:rPr altLang="zh-CN" sz="1400" spc="16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400" spc="16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 测试报告管理</a:t>
            </a:r>
          </a:p>
        </p:txBody>
      </p:sp>
      <p:sp>
        <p:nvSpPr>
          <p:cNvPr id="3" name="灯片编号占位符 2"/>
          <p:cNvSpPr>
            <a:spLocks noGrp="1"/>
          </p:cNvSpPr>
          <p:nvPr>
            <p:ph type="sldNum" sz="quarter" idx="12"/>
          </p:nvPr>
        </p:nvSpPr>
        <p:spPr/>
        <p:txBody>
          <a:bodyPr/>
          <a:lstStyle/>
          <a:p>
            <a:fld id="{5DD3DB80-B894-403A-B48E-6FDC1A72010E}" type="slidenum">
              <a:rPr lang="zh-CN" altLang="en-US" smtClean="0"/>
              <a:t>29</a:t>
            </a:fld>
            <a:endParaRPr lang="zh-CN" altLang="en-US"/>
          </a:p>
        </p:txBody>
      </p:sp>
    </p:spTree>
    <p:custDataLst>
      <p:tags r:id="rId1"/>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iṣlîḍé"/>
        <p:cNvGrpSpPr/>
        <p:nvPr/>
      </p:nvGrpSpPr>
      <p:grpSpPr>
        <a:xfrm>
          <a:off x="0" y="0"/>
          <a:ext cx="0" cy="0"/>
          <a:chOff x="0" y="0"/>
          <a:chExt cx="0" cy="0"/>
        </a:xfrm>
      </p:grpSpPr>
      <p:sp>
        <p:nvSpPr>
          <p:cNvPr id="5" name="îsľiḓé"/>
          <p:cNvSpPr>
            <a:spLocks noGrp="1"/>
          </p:cNvSpPr>
          <p:nvPr>
            <p:ph type="title"/>
          </p:nvPr>
        </p:nvSpPr>
        <p:spPr/>
        <p:txBody>
          <a:bodyPr>
            <a:normAutofit/>
          </a:bodyPr>
          <a:lstStyle/>
          <a:p>
            <a:r>
              <a:rPr lang="zh-CN" altLang="en-US" sz="3200" dirty="0">
                <a:sym typeface="+mn-ea"/>
              </a:rPr>
              <a:t>项目任务及研发过程</a:t>
            </a:r>
            <a:endParaRPr lang="zh-CN" altLang="en-US" sz="3200" dirty="0"/>
          </a:p>
        </p:txBody>
      </p:sp>
      <p:sp>
        <p:nvSpPr>
          <p:cNvPr id="9" name="ïŝľîḓe"/>
          <p:cNvSpPr txBox="1"/>
          <p:nvPr/>
        </p:nvSpPr>
        <p:spPr>
          <a:xfrm>
            <a:off x="753604" y="1790699"/>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1</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2"/>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ïŝlíḑè"/>
        <p:cNvGrpSpPr/>
        <p:nvPr/>
      </p:nvGrpSpPr>
      <p:grpSpPr>
        <a:xfrm>
          <a:off x="0" y="0"/>
          <a:ext cx="0" cy="0"/>
          <a:chOff x="0" y="0"/>
          <a:chExt cx="0" cy="0"/>
        </a:xfrm>
      </p:grpSpPr>
      <p:sp>
        <p:nvSpPr>
          <p:cNvPr id="6" name="文本框 1"/>
          <p:cNvSpPr txBox="1"/>
          <p:nvPr>
            <p:custDataLst>
              <p:tags r:id="rId2"/>
            </p:custDataLst>
          </p:nvPr>
        </p:nvSpPr>
        <p:spPr>
          <a:xfrm>
            <a:off x="610240" y="335285"/>
            <a:ext cx="10972876" cy="762000"/>
          </a:xfrm>
          <a:prstGeom prst="rect">
            <a:avLst/>
          </a:prstGeom>
          <a:noFill/>
        </p:spPr>
        <p:txBody>
          <a:bodyPr wrap="square" lIns="63500" tIns="25400" rIns="63500" bIns="25400" rtlCol="0" anchor="ctr" anchorCtr="0">
            <a:normAutofit/>
          </a:bodyPr>
          <a:lstStyle/>
          <a:p>
            <a:pPr marL="0" indent="0" algn="l">
              <a:lnSpc>
                <a:spcPct val="100000"/>
              </a:lnSpc>
              <a:spcBef>
                <a:spcPts val="0"/>
              </a:spcBef>
              <a:spcAft>
                <a:spcPts val="0"/>
              </a:spcAft>
              <a:buSzPct val="100000"/>
              <a:buNone/>
            </a:pPr>
            <a:r>
              <a:rPr lang="zh-CN" altLang="zh-CN" sz="4000" b="1" spc="240" dirty="0">
                <a:solidFill>
                  <a:schemeClr val="accent1"/>
                </a:solidFill>
                <a:uFillTx/>
                <a:latin typeface="微软雅黑" panose="020B0503020204020204" pitchFamily="34" charset="-122"/>
                <a:ea typeface="微软雅黑" panose="020B0503020204020204" pitchFamily="34" charset="-122"/>
                <a:sym typeface="+mn-ea"/>
              </a:rPr>
              <a:t>提交记录</a:t>
            </a:r>
          </a:p>
        </p:txBody>
      </p:sp>
      <p:pic>
        <p:nvPicPr>
          <p:cNvPr id="7" name="图片 4"/>
          <p:cNvPicPr>
            <a:picLocks noChangeAspect="1"/>
          </p:cNvPicPr>
          <p:nvPr>
            <p:custDataLst>
              <p:tags r:id="rId3"/>
            </p:custDataLst>
          </p:nvPr>
        </p:nvPicPr>
        <p:blipFill rotWithShape="1">
          <a:blip r:embed="rId5"/>
          <a:srcRect/>
          <a:stretch>
            <a:fillRect/>
          </a:stretch>
        </p:blipFill>
        <p:spPr>
          <a:xfrm>
            <a:off x="681081" y="1676413"/>
            <a:ext cx="10829925" cy="4572025"/>
          </a:xfrm>
          <a:custGeom>
            <a:avLst/>
            <a:gdLst/>
            <a:ahLst/>
            <a:cxnLst>
              <a:cxn ang="3">
                <a:pos x="hc" y="t"/>
              </a:cxn>
              <a:cxn ang="cd2">
                <a:pos x="l" y="vc"/>
              </a:cxn>
              <a:cxn ang="cd4">
                <a:pos x="hc" y="b"/>
              </a:cxn>
              <a:cxn ang="0">
                <a:pos x="r" y="vc"/>
              </a:cxn>
            </a:cxnLst>
            <a:rect l="l" t="t" r="r" b="b"/>
            <a:pathLst>
              <a:path w="17280" h="7200">
                <a:moveTo>
                  <a:pt x="0" y="0"/>
                </a:moveTo>
                <a:lnTo>
                  <a:pt x="17280" y="0"/>
                </a:lnTo>
                <a:lnTo>
                  <a:pt x="17280" y="7200"/>
                </a:lnTo>
                <a:lnTo>
                  <a:pt x="0" y="7200"/>
                </a:lnTo>
                <a:lnTo>
                  <a:pt x="0" y="0"/>
                </a:lnTo>
                <a:close/>
              </a:path>
            </a:pathLst>
          </a:custGeom>
          <a:ln w="177800">
            <a:solidFill>
              <a:srgbClr val="FFFFFF"/>
            </a:solidFill>
          </a:ln>
          <a:effectLst>
            <a:outerShdw blurRad="254000" dir="2700000" algn="ctr" rotWithShape="0">
              <a:srgbClr val="000000">
                <a:alpha val="20000"/>
              </a:srgbClr>
            </a:outerShdw>
          </a:effectLst>
        </p:spPr>
      </p:pic>
      <p:sp>
        <p:nvSpPr>
          <p:cNvPr id="3" name="灯片编号占位符 2"/>
          <p:cNvSpPr>
            <a:spLocks noGrp="1"/>
          </p:cNvSpPr>
          <p:nvPr>
            <p:ph type="sldNum" sz="quarter" idx="12"/>
          </p:nvPr>
        </p:nvSpPr>
        <p:spPr/>
        <p:txBody>
          <a:bodyPr/>
          <a:lstStyle/>
          <a:p>
            <a:fld id="{5DD3DB80-B894-403A-B48E-6FDC1A72010E}" type="slidenum">
              <a:rPr lang="zh-CN" altLang="en-US" smtClean="0"/>
              <a:t>30</a:t>
            </a:fld>
            <a:endParaRPr lang="zh-CN" altLang="en-US"/>
          </a:p>
        </p:txBody>
      </p:sp>
    </p:spTree>
    <p:custDataLst>
      <p:tags r:id="rId1"/>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custDataLst>
              <p:tags r:id="rId2"/>
            </p:custDataLst>
          </p:nvPr>
        </p:nvSpPr>
        <p:spPr>
          <a:xfrm>
            <a:off x="0" y="0"/>
            <a:ext cx="12192635" cy="6858635"/>
          </a:xfrm>
          <a:prstGeom prst="rect">
            <a:avLst/>
          </a:prstGeom>
          <a:pattFill prst="pct5">
            <a:fgClr>
              <a:schemeClr val="accent1"/>
            </a:fgClr>
            <a:bgClr>
              <a:schemeClr val="lt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2" name="矩形 11"/>
          <p:cNvSpPr/>
          <p:nvPr>
            <p:custDataLst>
              <p:tags r:id="rId3"/>
            </p:custDataLst>
          </p:nvPr>
        </p:nvSpPr>
        <p:spPr>
          <a:xfrm>
            <a:off x="1066809" y="1066781"/>
            <a:ext cx="10134681" cy="4724438"/>
          </a:xfrm>
          <a:prstGeom prst="rect">
            <a:avLst/>
          </a:prstGeom>
          <a:solidFill>
            <a:schemeClr val="lt2"/>
          </a:solidFill>
          <a:ln w="254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3" name="矩形 12"/>
          <p:cNvSpPr/>
          <p:nvPr>
            <p:custDataLst>
              <p:tags r:id="rId4"/>
            </p:custDataLst>
          </p:nvPr>
        </p:nvSpPr>
        <p:spPr>
          <a:xfrm>
            <a:off x="0" y="2133617"/>
            <a:ext cx="4419635" cy="13716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3" name="文本框 2"/>
          <p:cNvSpPr txBox="1"/>
          <p:nvPr>
            <p:custDataLst>
              <p:tags r:id="rId5"/>
            </p:custDataLst>
          </p:nvPr>
        </p:nvSpPr>
        <p:spPr>
          <a:xfrm>
            <a:off x="1066800" y="2438400"/>
            <a:ext cx="3048013" cy="762000"/>
          </a:xfrm>
          <a:prstGeom prst="rect">
            <a:avLst/>
          </a:prstGeom>
          <a:noFill/>
        </p:spPr>
        <p:txBody>
          <a:bodyPr wrap="square" lIns="63500" tIns="25400" rIns="63500" bIns="25400" rtlCol="0" anchor="ctr" anchorCtr="0">
            <a:normAutofit/>
          </a:bodyPr>
          <a:lstStyle/>
          <a:p>
            <a:pPr marL="0" indent="0" algn="r">
              <a:lnSpc>
                <a:spcPct val="100000"/>
              </a:lnSpc>
              <a:spcBef>
                <a:spcPts val="0"/>
              </a:spcBef>
              <a:spcAft>
                <a:spcPts val="0"/>
              </a:spcAft>
              <a:buSzPct val="100000"/>
              <a:buNone/>
            </a:pPr>
            <a:r>
              <a:rPr lang="zh-CN" altLang="en-US" sz="4000" b="1" spc="240">
                <a:solidFill>
                  <a:schemeClr val="lt1"/>
                </a:solidFill>
                <a:uFillTx/>
                <a:latin typeface="微软雅黑" panose="020B0503020204020204" pitchFamily="34" charset="-122"/>
                <a:ea typeface="微软雅黑" panose="020B0503020204020204" pitchFamily="34" charset="-122"/>
              </a:rPr>
              <a:t>相关文档</a:t>
            </a:r>
          </a:p>
        </p:txBody>
      </p:sp>
      <p:graphicFrame>
        <p:nvGraphicFramePr>
          <p:cNvPr id="5" name="表格 5"/>
          <p:cNvGraphicFramePr/>
          <p:nvPr>
            <p:custDataLst>
              <p:tags r:id="rId6"/>
            </p:custDataLst>
            <p:extLst>
              <p:ext uri="{D42A27DB-BD31-4B8C-83A1-F6EECF244321}">
                <p14:modId xmlns:p14="http://schemas.microsoft.com/office/powerpoint/2010/main" val="3253097468"/>
              </p:ext>
            </p:extLst>
          </p:nvPr>
        </p:nvGraphicFramePr>
        <p:xfrm>
          <a:off x="6096000" y="1418678"/>
          <a:ext cx="3625850" cy="4020644"/>
        </p:xfrm>
        <a:graphic>
          <a:graphicData uri="http://schemas.openxmlformats.org/drawingml/2006/table">
            <a:tbl>
              <a:tblPr firstRow="1" bandRow="1">
                <a:tableStyleId>{5C22544A-7EE6-4342-B048-85BDC9FD1C3A}</a:tableStyleId>
              </a:tblPr>
              <a:tblGrid>
                <a:gridCol w="2284095">
                  <a:extLst>
                    <a:ext uri="{9D8B030D-6E8A-4147-A177-3AD203B41FA5}">
                      <a16:colId xmlns:a16="http://schemas.microsoft.com/office/drawing/2014/main" val="20000"/>
                    </a:ext>
                  </a:extLst>
                </a:gridCol>
                <a:gridCol w="1341755">
                  <a:extLst>
                    <a:ext uri="{9D8B030D-6E8A-4147-A177-3AD203B41FA5}">
                      <a16:colId xmlns:a16="http://schemas.microsoft.com/office/drawing/2014/main" val="20001"/>
                    </a:ext>
                  </a:extLst>
                </a:gridCol>
              </a:tblGrid>
              <a:tr h="431800">
                <a:tc>
                  <a:txBody>
                    <a:bodyPr/>
                    <a:lstStyle/>
                    <a:p>
                      <a:pPr algn="ctr">
                        <a:lnSpc>
                          <a:spcPct val="120000"/>
                        </a:lnSpc>
                        <a:spcBef>
                          <a:spcPts val="0"/>
                        </a:spcBef>
                        <a:spcAft>
                          <a:spcPts val="0"/>
                        </a:spcAft>
                        <a:buNone/>
                      </a:pPr>
                      <a:r>
                        <a:rPr lang="zh-CN" altLang="en-US" sz="1600" spc="120" dirty="0">
                          <a:latin typeface="微软雅黑" panose="020B0503020204020204" pitchFamily="34" charset="-122"/>
                          <a:cs typeface="微软雅黑" panose="020B0503020204020204" pitchFamily="34" charset="-122"/>
                        </a:rPr>
                        <a:t>文档</a:t>
                      </a:r>
                    </a:p>
                  </a:txBody>
                  <a:tcPr marL="177800" marR="177800" marT="66675" marB="66675" anchor="ctr"/>
                </a:tc>
                <a:tc>
                  <a:txBody>
                    <a:bodyPr/>
                    <a:lstStyle/>
                    <a:p>
                      <a:pPr algn="ctr">
                        <a:lnSpc>
                          <a:spcPct val="120000"/>
                        </a:lnSpc>
                        <a:spcBef>
                          <a:spcPts val="0"/>
                        </a:spcBef>
                        <a:spcAft>
                          <a:spcPts val="0"/>
                        </a:spcAft>
                        <a:buNone/>
                      </a:pPr>
                      <a:r>
                        <a:rPr lang="zh-CN" altLang="en-US" sz="1600" spc="120">
                          <a:latin typeface="微软雅黑" panose="020B0503020204020204" pitchFamily="34" charset="-122"/>
                        </a:rPr>
                        <a:t>页数</a:t>
                      </a:r>
                    </a:p>
                  </a:txBody>
                  <a:tcPr marL="177800" marR="177800" marT="66675" marB="66675" anchor="ctr"/>
                </a:tc>
                <a:extLst>
                  <a:ext uri="{0D108BD9-81ED-4DB2-BD59-A6C34878D82A}">
                    <a16:rowId xmlns:a16="http://schemas.microsoft.com/office/drawing/2014/main" val="10000"/>
                  </a:ext>
                </a:extLst>
              </a:tr>
              <a:tr h="394335">
                <a:tc>
                  <a:txBody>
                    <a:bodyPr/>
                    <a:lstStyle/>
                    <a:p>
                      <a:pPr algn="ctr">
                        <a:lnSpc>
                          <a:spcPct val="120000"/>
                        </a:lnSpc>
                        <a:spcBef>
                          <a:spcPts val="0"/>
                        </a:spcBef>
                        <a:spcAft>
                          <a:spcPts val="0"/>
                        </a:spcAft>
                        <a:buNone/>
                      </a:pPr>
                      <a:r>
                        <a:rPr lang="zh-CN" altLang="en-US" sz="1400" spc="120" dirty="0">
                          <a:latin typeface="微软雅黑" panose="020B0503020204020204" pitchFamily="34" charset="-122"/>
                        </a:rPr>
                        <a:t>需求规格说明书</a:t>
                      </a:r>
                    </a:p>
                  </a:txBody>
                  <a:tcPr marL="177800" marR="177800" marT="66675" marB="66675" anchor="ctr"/>
                </a:tc>
                <a:tc>
                  <a:txBody>
                    <a:bodyPr/>
                    <a:lstStyle/>
                    <a:p>
                      <a:pPr algn="ctr">
                        <a:lnSpc>
                          <a:spcPct val="120000"/>
                        </a:lnSpc>
                        <a:spcBef>
                          <a:spcPts val="0"/>
                        </a:spcBef>
                        <a:spcAft>
                          <a:spcPts val="0"/>
                        </a:spcAft>
                        <a:buNone/>
                      </a:pPr>
                      <a:r>
                        <a:rPr lang="en-US" altLang="zh-CN" sz="1400" spc="120" dirty="0">
                          <a:latin typeface="微软雅黑" panose="020B0503020204020204" pitchFamily="34" charset="-122"/>
                          <a:cs typeface="微软雅黑" panose="020B0503020204020204" pitchFamily="34" charset="-122"/>
                        </a:rPr>
                        <a:t>41</a:t>
                      </a:r>
                    </a:p>
                  </a:txBody>
                  <a:tcPr marL="177800" marR="177800" marT="66675" marB="66675" anchor="ctr"/>
                </a:tc>
                <a:extLst>
                  <a:ext uri="{0D108BD9-81ED-4DB2-BD59-A6C34878D82A}">
                    <a16:rowId xmlns:a16="http://schemas.microsoft.com/office/drawing/2014/main" val="10001"/>
                  </a:ext>
                </a:extLst>
              </a:tr>
              <a:tr h="394970">
                <a:tc>
                  <a:txBody>
                    <a:bodyPr/>
                    <a:lstStyle/>
                    <a:p>
                      <a:pPr algn="ctr">
                        <a:lnSpc>
                          <a:spcPct val="120000"/>
                        </a:lnSpc>
                        <a:spcBef>
                          <a:spcPts val="0"/>
                        </a:spcBef>
                        <a:spcAft>
                          <a:spcPts val="0"/>
                        </a:spcAft>
                        <a:buNone/>
                      </a:pPr>
                      <a:r>
                        <a:rPr lang="zh-CN" altLang="en-US" sz="1400" spc="120" dirty="0">
                          <a:latin typeface="微软雅黑" panose="020B0503020204020204" pitchFamily="34" charset="-122"/>
                        </a:rPr>
                        <a:t>设计说明书</a:t>
                      </a:r>
                    </a:p>
                  </a:txBody>
                  <a:tcPr marL="177800" marR="177800" marT="66675" marB="66675" anchor="ctr"/>
                </a:tc>
                <a:tc>
                  <a:txBody>
                    <a:bodyPr/>
                    <a:lstStyle/>
                    <a:p>
                      <a:pPr algn="ctr">
                        <a:lnSpc>
                          <a:spcPct val="120000"/>
                        </a:lnSpc>
                        <a:spcBef>
                          <a:spcPts val="0"/>
                        </a:spcBef>
                        <a:spcAft>
                          <a:spcPts val="0"/>
                        </a:spcAft>
                        <a:buNone/>
                      </a:pPr>
                      <a:r>
                        <a:rPr lang="en-US" altLang="zh-CN" sz="1400" spc="120" dirty="0">
                          <a:latin typeface="微软雅黑" panose="020B0503020204020204" pitchFamily="34" charset="-122"/>
                          <a:cs typeface="微软雅黑" panose="020B0503020204020204" pitchFamily="34" charset="-122"/>
                        </a:rPr>
                        <a:t>54</a:t>
                      </a:r>
                    </a:p>
                  </a:txBody>
                  <a:tcPr marL="177800" marR="177800" marT="66675" marB="66675" anchor="ctr"/>
                </a:tc>
                <a:extLst>
                  <a:ext uri="{0D108BD9-81ED-4DB2-BD59-A6C34878D82A}">
                    <a16:rowId xmlns:a16="http://schemas.microsoft.com/office/drawing/2014/main" val="10002"/>
                  </a:ext>
                </a:extLst>
              </a:tr>
              <a:tr h="394970">
                <a:tc>
                  <a:txBody>
                    <a:bodyPr/>
                    <a:lstStyle/>
                    <a:p>
                      <a:pPr algn="ctr">
                        <a:lnSpc>
                          <a:spcPct val="120000"/>
                        </a:lnSpc>
                        <a:spcBef>
                          <a:spcPts val="0"/>
                        </a:spcBef>
                        <a:spcAft>
                          <a:spcPts val="0"/>
                        </a:spcAft>
                        <a:buNone/>
                      </a:pPr>
                      <a:r>
                        <a:rPr lang="zh-CN" altLang="en-US" sz="1400" spc="120" dirty="0">
                          <a:latin typeface="微软雅黑" panose="020B0503020204020204" pitchFamily="34" charset="-122"/>
                        </a:rPr>
                        <a:t>数据库文档</a:t>
                      </a:r>
                    </a:p>
                  </a:txBody>
                  <a:tcPr marL="177800" marR="177800" marT="66675" marB="66675" anchor="ctr"/>
                </a:tc>
                <a:tc>
                  <a:txBody>
                    <a:bodyPr/>
                    <a:lstStyle/>
                    <a:p>
                      <a:pPr algn="ctr">
                        <a:lnSpc>
                          <a:spcPct val="120000"/>
                        </a:lnSpc>
                        <a:spcBef>
                          <a:spcPts val="0"/>
                        </a:spcBef>
                        <a:spcAft>
                          <a:spcPts val="0"/>
                        </a:spcAft>
                        <a:buNone/>
                      </a:pPr>
                      <a:r>
                        <a:rPr lang="en-US" altLang="zh-CN" sz="1400" spc="120" dirty="0">
                          <a:latin typeface="微软雅黑" panose="020B0503020204020204" pitchFamily="34" charset="-122"/>
                          <a:cs typeface="微软雅黑" panose="020B0503020204020204" pitchFamily="34" charset="-122"/>
                        </a:rPr>
                        <a:t>42</a:t>
                      </a:r>
                      <a:endParaRPr lang="zh-CN" altLang="en-US" sz="1400" spc="120" dirty="0">
                        <a:latin typeface="微软雅黑" panose="020B0503020204020204" pitchFamily="34" charset="-122"/>
                        <a:cs typeface="微软雅黑" panose="020B0503020204020204" pitchFamily="34" charset="-122"/>
                      </a:endParaRPr>
                    </a:p>
                  </a:txBody>
                  <a:tcPr marL="177800" marR="177800" marT="66675" marB="66675" anchor="ctr"/>
                </a:tc>
                <a:extLst>
                  <a:ext uri="{0D108BD9-81ED-4DB2-BD59-A6C34878D82A}">
                    <a16:rowId xmlns:a16="http://schemas.microsoft.com/office/drawing/2014/main" val="10003"/>
                  </a:ext>
                </a:extLst>
              </a:tr>
              <a:tr h="430354">
                <a:tc>
                  <a:txBody>
                    <a:bodyPr/>
                    <a:lstStyle/>
                    <a:p>
                      <a:pPr algn="ctr">
                        <a:lnSpc>
                          <a:spcPct val="120000"/>
                        </a:lnSpc>
                        <a:spcBef>
                          <a:spcPts val="0"/>
                        </a:spcBef>
                        <a:spcAft>
                          <a:spcPts val="0"/>
                        </a:spcAft>
                        <a:buNone/>
                      </a:pPr>
                      <a:r>
                        <a:rPr lang="zh-CN" altLang="en-US" sz="1400" spc="120" dirty="0">
                          <a:latin typeface="微软雅黑" panose="020B0503020204020204" pitchFamily="34" charset="-122"/>
                        </a:rPr>
                        <a:t>项目研发报告</a:t>
                      </a:r>
                    </a:p>
                  </a:txBody>
                  <a:tcPr marL="177800" marR="177800" marT="66675" marB="66675" anchor="ctr"/>
                </a:tc>
                <a:tc>
                  <a:txBody>
                    <a:bodyPr/>
                    <a:lstStyle/>
                    <a:p>
                      <a:pPr algn="ctr">
                        <a:lnSpc>
                          <a:spcPct val="120000"/>
                        </a:lnSpc>
                        <a:spcBef>
                          <a:spcPts val="0"/>
                        </a:spcBef>
                        <a:spcAft>
                          <a:spcPts val="0"/>
                        </a:spcAft>
                        <a:buNone/>
                      </a:pPr>
                      <a:r>
                        <a:rPr lang="en-US" altLang="zh-CN" sz="1400" spc="120" dirty="0">
                          <a:latin typeface="微软雅黑" panose="020B0503020204020204" pitchFamily="34" charset="-122"/>
                          <a:cs typeface="微软雅黑" panose="020B0503020204020204" pitchFamily="34" charset="-122"/>
                        </a:rPr>
                        <a:t>8</a:t>
                      </a:r>
                    </a:p>
                  </a:txBody>
                  <a:tcPr marL="177800" marR="177800" marT="66675" marB="66675" anchor="ctr"/>
                </a:tc>
                <a:extLst>
                  <a:ext uri="{0D108BD9-81ED-4DB2-BD59-A6C34878D82A}">
                    <a16:rowId xmlns:a16="http://schemas.microsoft.com/office/drawing/2014/main" val="10004"/>
                  </a:ext>
                </a:extLst>
              </a:tr>
              <a:tr h="394335">
                <a:tc>
                  <a:txBody>
                    <a:bodyPr/>
                    <a:lstStyle/>
                    <a:p>
                      <a:pPr algn="ctr">
                        <a:lnSpc>
                          <a:spcPct val="120000"/>
                        </a:lnSpc>
                        <a:spcBef>
                          <a:spcPts val="0"/>
                        </a:spcBef>
                        <a:spcAft>
                          <a:spcPts val="0"/>
                        </a:spcAft>
                        <a:buNone/>
                      </a:pPr>
                      <a:r>
                        <a:rPr lang="zh-CN" altLang="en-US" sz="1400" spc="120" dirty="0">
                          <a:latin typeface="微软雅黑" panose="020B0503020204020204" pitchFamily="34" charset="-122"/>
                        </a:rPr>
                        <a:t>工作日志</a:t>
                      </a:r>
                    </a:p>
                  </a:txBody>
                  <a:tcPr marL="177800" marR="177800" marT="66675" marB="66675" anchor="ctr"/>
                </a:tc>
                <a:tc>
                  <a:txBody>
                    <a:bodyPr/>
                    <a:lstStyle/>
                    <a:p>
                      <a:pPr algn="ctr">
                        <a:lnSpc>
                          <a:spcPct val="120000"/>
                        </a:lnSpc>
                        <a:spcBef>
                          <a:spcPts val="0"/>
                        </a:spcBef>
                        <a:spcAft>
                          <a:spcPts val="0"/>
                        </a:spcAft>
                        <a:buNone/>
                      </a:pPr>
                      <a:r>
                        <a:rPr lang="en-US" altLang="zh-CN" sz="1400" spc="120" dirty="0">
                          <a:latin typeface="微软雅黑" panose="020B0503020204020204" pitchFamily="34" charset="-122"/>
                          <a:cs typeface="微软雅黑" panose="020B0503020204020204" pitchFamily="34" charset="-122"/>
                        </a:rPr>
                        <a:t>-</a:t>
                      </a:r>
                      <a:endParaRPr lang="zh-CN" altLang="en-US" sz="1400" spc="120" dirty="0">
                        <a:latin typeface="微软雅黑" panose="020B0503020204020204" pitchFamily="34" charset="-122"/>
                        <a:cs typeface="微软雅黑" panose="020B0503020204020204" pitchFamily="34" charset="-122"/>
                      </a:endParaRPr>
                    </a:p>
                  </a:txBody>
                  <a:tcPr marL="177800" marR="177800" marT="66675" marB="66675" anchor="ctr"/>
                </a:tc>
                <a:extLst>
                  <a:ext uri="{0D108BD9-81ED-4DB2-BD59-A6C34878D82A}">
                    <a16:rowId xmlns:a16="http://schemas.microsoft.com/office/drawing/2014/main" val="10005"/>
                  </a:ext>
                </a:extLst>
              </a:tr>
              <a:tr h="394970">
                <a:tc>
                  <a:txBody>
                    <a:bodyPr/>
                    <a:lstStyle/>
                    <a:p>
                      <a:pPr algn="ctr">
                        <a:lnSpc>
                          <a:spcPct val="120000"/>
                        </a:lnSpc>
                        <a:spcBef>
                          <a:spcPts val="0"/>
                        </a:spcBef>
                        <a:spcAft>
                          <a:spcPts val="0"/>
                        </a:spcAft>
                        <a:buNone/>
                      </a:pPr>
                      <a:r>
                        <a:rPr lang="zh-CN" altLang="en-US" sz="1400" spc="120" dirty="0">
                          <a:latin typeface="微软雅黑" panose="020B0503020204020204" pitchFamily="34" charset="-122"/>
                        </a:rPr>
                        <a:t>测试报告</a:t>
                      </a:r>
                    </a:p>
                  </a:txBody>
                  <a:tcPr marL="177800" marR="177800" marT="66675" marB="66675" anchor="ctr"/>
                </a:tc>
                <a:tc>
                  <a:txBody>
                    <a:bodyPr/>
                    <a:lstStyle/>
                    <a:p>
                      <a:pPr algn="ctr">
                        <a:lnSpc>
                          <a:spcPct val="120000"/>
                        </a:lnSpc>
                        <a:spcBef>
                          <a:spcPts val="0"/>
                        </a:spcBef>
                        <a:spcAft>
                          <a:spcPts val="0"/>
                        </a:spcAft>
                        <a:buNone/>
                      </a:pPr>
                      <a:r>
                        <a:rPr lang="en-US" altLang="zh-CN" sz="1400" spc="120" dirty="0">
                          <a:latin typeface="微软雅黑" panose="020B0503020204020204" pitchFamily="34" charset="-122"/>
                          <a:cs typeface="微软雅黑" panose="020B0503020204020204" pitchFamily="34" charset="-122"/>
                        </a:rPr>
                        <a:t>47</a:t>
                      </a:r>
                    </a:p>
                  </a:txBody>
                  <a:tcPr marL="177800" marR="177800" marT="66675" marB="66675" anchor="ctr"/>
                </a:tc>
                <a:extLst>
                  <a:ext uri="{0D108BD9-81ED-4DB2-BD59-A6C34878D82A}">
                    <a16:rowId xmlns:a16="http://schemas.microsoft.com/office/drawing/2014/main" val="10006"/>
                  </a:ext>
                </a:extLst>
              </a:tr>
              <a:tr h="394970">
                <a:tc>
                  <a:txBody>
                    <a:bodyPr/>
                    <a:lstStyle/>
                    <a:p>
                      <a:pPr algn="ctr">
                        <a:lnSpc>
                          <a:spcPct val="120000"/>
                        </a:lnSpc>
                        <a:spcBef>
                          <a:spcPts val="0"/>
                        </a:spcBef>
                        <a:spcAft>
                          <a:spcPts val="0"/>
                        </a:spcAft>
                        <a:buNone/>
                      </a:pPr>
                      <a:r>
                        <a:rPr lang="zh-CN" altLang="en-US" sz="1400" spc="120" dirty="0">
                          <a:latin typeface="微软雅黑" panose="020B0503020204020204" pitchFamily="34" charset="-122"/>
                        </a:rPr>
                        <a:t>安装文档</a:t>
                      </a:r>
                    </a:p>
                  </a:txBody>
                  <a:tcPr marL="177800" marR="177800" marT="66675" marB="66675" anchor="ctr"/>
                </a:tc>
                <a:tc>
                  <a:txBody>
                    <a:bodyPr/>
                    <a:lstStyle/>
                    <a:p>
                      <a:pPr algn="ctr">
                        <a:lnSpc>
                          <a:spcPct val="120000"/>
                        </a:lnSpc>
                        <a:spcBef>
                          <a:spcPts val="0"/>
                        </a:spcBef>
                        <a:spcAft>
                          <a:spcPts val="0"/>
                        </a:spcAft>
                        <a:buNone/>
                      </a:pPr>
                      <a:r>
                        <a:rPr lang="en-US" altLang="zh-CN" sz="1400" spc="120" dirty="0">
                          <a:latin typeface="微软雅黑" panose="020B0503020204020204" pitchFamily="34" charset="-122"/>
                          <a:cs typeface="微软雅黑" panose="020B0503020204020204" pitchFamily="34" charset="-122"/>
                        </a:rPr>
                        <a:t>4</a:t>
                      </a:r>
                    </a:p>
                  </a:txBody>
                  <a:tcPr marL="177800" marR="177800" marT="66675" marB="66675" anchor="ctr"/>
                </a:tc>
                <a:extLst>
                  <a:ext uri="{0D108BD9-81ED-4DB2-BD59-A6C34878D82A}">
                    <a16:rowId xmlns:a16="http://schemas.microsoft.com/office/drawing/2014/main" val="10007"/>
                  </a:ext>
                </a:extLst>
              </a:tr>
              <a:tr h="394970">
                <a:tc>
                  <a:txBody>
                    <a:bodyPr/>
                    <a:lstStyle/>
                    <a:p>
                      <a:pPr algn="ctr">
                        <a:lnSpc>
                          <a:spcPct val="120000"/>
                        </a:lnSpc>
                        <a:spcBef>
                          <a:spcPts val="0"/>
                        </a:spcBef>
                        <a:spcAft>
                          <a:spcPts val="0"/>
                        </a:spcAft>
                        <a:buNone/>
                      </a:pPr>
                      <a:r>
                        <a:rPr lang="zh-CN" altLang="en-US" sz="1400" spc="120" dirty="0">
                          <a:latin typeface="微软雅黑" panose="020B0503020204020204" pitchFamily="34" charset="-122"/>
                        </a:rPr>
                        <a:t>接口说明文档</a:t>
                      </a:r>
                    </a:p>
                  </a:txBody>
                  <a:tcPr marL="177800" marR="177800" marT="66675" marB="66675" anchor="ctr"/>
                </a:tc>
                <a:tc>
                  <a:txBody>
                    <a:bodyPr/>
                    <a:lstStyle/>
                    <a:p>
                      <a:pPr algn="ctr">
                        <a:lnSpc>
                          <a:spcPct val="120000"/>
                        </a:lnSpc>
                        <a:spcBef>
                          <a:spcPts val="0"/>
                        </a:spcBef>
                        <a:spcAft>
                          <a:spcPts val="0"/>
                        </a:spcAft>
                        <a:buNone/>
                      </a:pPr>
                      <a:r>
                        <a:rPr lang="en-US" altLang="zh-CN" sz="1400" spc="120" dirty="0">
                          <a:latin typeface="微软雅黑" panose="020B0503020204020204" pitchFamily="34" charset="-122"/>
                          <a:cs typeface="微软雅黑" panose="020B0503020204020204" pitchFamily="34" charset="-122"/>
                        </a:rPr>
                        <a:t>-</a:t>
                      </a:r>
                    </a:p>
                  </a:txBody>
                  <a:tcPr marL="177800" marR="177800" marT="66675" marB="66675" anchor="ctr"/>
                </a:tc>
                <a:extLst>
                  <a:ext uri="{0D108BD9-81ED-4DB2-BD59-A6C34878D82A}">
                    <a16:rowId xmlns:a16="http://schemas.microsoft.com/office/drawing/2014/main" val="3112573804"/>
                  </a:ext>
                </a:extLst>
              </a:tr>
              <a:tr h="394970">
                <a:tc>
                  <a:txBody>
                    <a:bodyPr/>
                    <a:lstStyle/>
                    <a:p>
                      <a:pPr algn="ctr">
                        <a:lnSpc>
                          <a:spcPct val="120000"/>
                        </a:lnSpc>
                        <a:spcBef>
                          <a:spcPts val="0"/>
                        </a:spcBef>
                        <a:spcAft>
                          <a:spcPts val="0"/>
                        </a:spcAft>
                        <a:buNone/>
                      </a:pPr>
                      <a:r>
                        <a:rPr lang="zh-CN" altLang="en-US" sz="1400" spc="120" dirty="0">
                          <a:latin typeface="微软雅黑" panose="020B0503020204020204" pitchFamily="34" charset="-122"/>
                        </a:rPr>
                        <a:t>代码说明文档</a:t>
                      </a:r>
                    </a:p>
                  </a:txBody>
                  <a:tcPr marL="177800" marR="177800" marT="66675" marB="66675" anchor="ctr"/>
                </a:tc>
                <a:tc>
                  <a:txBody>
                    <a:bodyPr/>
                    <a:lstStyle/>
                    <a:p>
                      <a:pPr algn="ctr">
                        <a:lnSpc>
                          <a:spcPct val="120000"/>
                        </a:lnSpc>
                        <a:spcBef>
                          <a:spcPts val="0"/>
                        </a:spcBef>
                        <a:spcAft>
                          <a:spcPts val="0"/>
                        </a:spcAft>
                        <a:buNone/>
                      </a:pPr>
                      <a:r>
                        <a:rPr lang="en-US" altLang="zh-CN" sz="1400" spc="120" dirty="0">
                          <a:latin typeface="微软雅黑" panose="020B0503020204020204" pitchFamily="34" charset="-122"/>
                          <a:cs typeface="微软雅黑" panose="020B0503020204020204" pitchFamily="34" charset="-122"/>
                        </a:rPr>
                        <a:t>-</a:t>
                      </a:r>
                    </a:p>
                  </a:txBody>
                  <a:tcPr marL="177800" marR="177800" marT="66675" marB="66675" anchor="ctr"/>
                </a:tc>
                <a:extLst>
                  <a:ext uri="{0D108BD9-81ED-4DB2-BD59-A6C34878D82A}">
                    <a16:rowId xmlns:a16="http://schemas.microsoft.com/office/drawing/2014/main" val="2225914923"/>
                  </a:ext>
                </a:extLst>
              </a:tr>
            </a:tbl>
          </a:graphicData>
        </a:graphic>
      </p:graphicFrame>
      <p:sp>
        <p:nvSpPr>
          <p:cNvPr id="4" name="灯片编号占位符 3"/>
          <p:cNvSpPr>
            <a:spLocks noGrp="1"/>
          </p:cNvSpPr>
          <p:nvPr>
            <p:ph type="sldNum" sz="quarter" idx="12"/>
          </p:nvPr>
        </p:nvSpPr>
        <p:spPr/>
        <p:txBody>
          <a:bodyPr/>
          <a:lstStyle/>
          <a:p>
            <a:fld id="{5DD3DB80-B894-403A-B48E-6FDC1A72010E}" type="slidenum">
              <a:rPr lang="zh-CN" altLang="en-US" smtClean="0"/>
              <a:t>31</a:t>
            </a:fld>
            <a:endParaRPr lang="zh-CN" altLang="en-US"/>
          </a:p>
        </p:txBody>
      </p:sp>
    </p:spTree>
    <p:custDataLst>
      <p:tags r:id="rId1"/>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iṧ1îḑé"/>
        <p:cNvGrpSpPr/>
        <p:nvPr/>
      </p:nvGrpSpPr>
      <p:grpSpPr>
        <a:xfrm>
          <a:off x="0" y="0"/>
          <a:ext cx="0" cy="0"/>
          <a:chOff x="0" y="0"/>
          <a:chExt cx="0" cy="0"/>
        </a:xfrm>
      </p:grpSpPr>
      <p:graphicFrame>
        <p:nvGraphicFramePr>
          <p:cNvPr id="3" name="ïṩḻiḓé"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2" name="think-cell Slide" r:id="rId5" imgW="9525" imgH="9525" progId="TCLayout.ActiveDocument.1">
                  <p:embed/>
                </p:oleObj>
              </mc:Choice>
              <mc:Fallback>
                <p:oleObj name="think-cell Slide" r:id="rId5" imgW="9525" imgH="9525" progId="TCLayout.ActiveDocument.1">
                  <p:embed/>
                  <p:pic>
                    <p:nvPicPr>
                      <p:cNvPr id="0" name="í$ļiḋe"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îşlîḍe"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îṡ1íḍê"/>
          <p:cNvSpPr>
            <a:spLocks noGrp="1"/>
          </p:cNvSpPr>
          <p:nvPr>
            <p:ph type="ctrTitle"/>
          </p:nvPr>
        </p:nvSpPr>
        <p:spPr/>
        <p:txBody>
          <a:bodyPr/>
          <a:lstStyle/>
          <a:p>
            <a:r>
              <a:rPr lang="zh-CN" altLang="zh-CN" dirty="0">
                <a:sym typeface="+mn-ea"/>
              </a:rPr>
              <a:t>会议日志</a:t>
            </a:r>
          </a:p>
        </p:txBody>
      </p:sp>
      <p:sp>
        <p:nvSpPr>
          <p:cNvPr id="8" name="ïŝľîḓe"/>
          <p:cNvSpPr txBox="1"/>
          <p:nvPr/>
        </p:nvSpPr>
        <p:spPr>
          <a:xfrm>
            <a:off x="1428307" y="3104594"/>
            <a:ext cx="1023516" cy="889909"/>
          </a:xfrm>
          <a:prstGeom prst="rect">
            <a:avLst/>
          </a:prstGeom>
          <a:noFill/>
          <a:ln w="117475">
            <a:noFill/>
          </a:ln>
        </p:spPr>
        <p:txBody>
          <a:bodyPr wrap="none" rtlCol="0">
            <a:prstTxWarp prst="textPlain">
              <a:avLst/>
            </a:prstTxWarp>
            <a:spAutoFit/>
          </a:bodyPr>
          <a:lstStyle/>
          <a:p>
            <a:r>
              <a:rPr lang="en-US" altLang="zh-CN" spc="100">
                <a:solidFill>
                  <a:schemeClr val="accent1"/>
                </a:solidFill>
                <a:latin typeface="Impact" panose="020B0806030902050204" pitchFamily="34" charset="0"/>
                <a:cs typeface="Arial" panose="020B0604020202020204" pitchFamily="34" charset="0"/>
              </a:rPr>
              <a:t>/06</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3"/>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1"/>
          <p:cNvSpPr txBox="1"/>
          <p:nvPr>
            <p:custDataLst>
              <p:tags r:id="rId2"/>
            </p:custDataLst>
          </p:nvPr>
        </p:nvSpPr>
        <p:spPr>
          <a:xfrm>
            <a:off x="914362" y="221620"/>
            <a:ext cx="10363276" cy="762000"/>
          </a:xfrm>
          <a:prstGeom prst="rect">
            <a:avLst/>
          </a:prstGeom>
          <a:noFill/>
        </p:spPr>
        <p:txBody>
          <a:bodyPr wrap="square" lIns="63500" tIns="25400" rIns="63500" bIns="25400" rtlCol="0" anchor="ctr" anchorCtr="0">
            <a:normAutofit/>
          </a:bodyPr>
          <a:lstStyle/>
          <a:p>
            <a:pPr marL="0" indent="0" algn="ctr">
              <a:lnSpc>
                <a:spcPct val="100000"/>
              </a:lnSpc>
              <a:spcBef>
                <a:spcPts val="0"/>
              </a:spcBef>
              <a:spcAft>
                <a:spcPts val="0"/>
              </a:spcAft>
              <a:buSzPct val="100000"/>
              <a:buNone/>
            </a:pPr>
            <a:r>
              <a:rPr lang="zh-CN" altLang="en-US" sz="4000" b="1" spc="240">
                <a:solidFill>
                  <a:schemeClr val="accent1"/>
                </a:solidFill>
                <a:uFillTx/>
                <a:latin typeface="微软雅黑" panose="020B0503020204020204" pitchFamily="34" charset="-122"/>
                <a:ea typeface="微软雅黑" panose="020B0503020204020204" pitchFamily="34" charset="-122"/>
              </a:rPr>
              <a:t>日志记录</a:t>
            </a:r>
          </a:p>
        </p:txBody>
      </p:sp>
      <p:pic>
        <p:nvPicPr>
          <p:cNvPr id="6" name="图片 3"/>
          <p:cNvPicPr>
            <a:picLocks noChangeAspect="1"/>
          </p:cNvPicPr>
          <p:nvPr>
            <p:custDataLst>
              <p:tags r:id="rId3"/>
            </p:custDataLst>
          </p:nvPr>
        </p:nvPicPr>
        <p:blipFill rotWithShape="1">
          <a:blip r:embed="rId6"/>
          <a:srcRect/>
          <a:stretch>
            <a:fillRect/>
          </a:stretch>
        </p:blipFill>
        <p:spPr>
          <a:xfrm>
            <a:off x="1454144" y="1667898"/>
            <a:ext cx="2660650" cy="4580610"/>
          </a:xfrm>
          <a:custGeom>
            <a:avLst/>
            <a:gdLst/>
            <a:ahLst/>
            <a:cxnLst>
              <a:cxn ang="3">
                <a:pos x="hc" y="t"/>
              </a:cxn>
              <a:cxn ang="cd2">
                <a:pos x="l" y="vc"/>
              </a:cxn>
              <a:cxn ang="cd4">
                <a:pos x="hc" y="b"/>
              </a:cxn>
              <a:cxn ang="0">
                <a:pos x="r" y="vc"/>
              </a:cxn>
            </a:cxnLst>
            <a:rect l="l" t="t" r="r" b="b"/>
            <a:pathLst>
              <a:path w="7920" h="6720">
                <a:moveTo>
                  <a:pt x="0" y="0"/>
                </a:moveTo>
                <a:lnTo>
                  <a:pt x="7920" y="0"/>
                </a:lnTo>
                <a:lnTo>
                  <a:pt x="7920" y="6720"/>
                </a:lnTo>
                <a:lnTo>
                  <a:pt x="0" y="6720"/>
                </a:lnTo>
                <a:lnTo>
                  <a:pt x="0" y="0"/>
                </a:lnTo>
                <a:close/>
              </a:path>
            </a:pathLst>
          </a:custGeom>
        </p:spPr>
      </p:pic>
      <p:pic>
        <p:nvPicPr>
          <p:cNvPr id="8" name="图片 6"/>
          <p:cNvPicPr>
            <a:picLocks noChangeAspect="1"/>
          </p:cNvPicPr>
          <p:nvPr>
            <p:custDataLst>
              <p:tags r:id="rId4"/>
            </p:custDataLst>
          </p:nvPr>
        </p:nvPicPr>
        <p:blipFill rotWithShape="1">
          <a:blip r:embed="rId7"/>
          <a:srcRect/>
          <a:stretch>
            <a:fillRect/>
          </a:stretch>
        </p:blipFill>
        <p:spPr>
          <a:xfrm>
            <a:off x="4419606" y="1667898"/>
            <a:ext cx="5865495" cy="4580610"/>
          </a:xfrm>
          <a:custGeom>
            <a:avLst/>
            <a:gdLst/>
            <a:ahLst/>
            <a:cxnLst>
              <a:cxn ang="3">
                <a:pos x="hc" y="t"/>
              </a:cxn>
              <a:cxn ang="cd2">
                <a:pos x="l" y="vc"/>
              </a:cxn>
              <a:cxn ang="cd4">
                <a:pos x="hc" y="b"/>
              </a:cxn>
              <a:cxn ang="0">
                <a:pos x="r" y="vc"/>
              </a:cxn>
            </a:cxnLst>
            <a:rect l="l" t="t" r="r" b="b"/>
            <a:pathLst>
              <a:path w="7920" h="6720">
                <a:moveTo>
                  <a:pt x="0" y="0"/>
                </a:moveTo>
                <a:lnTo>
                  <a:pt x="7920" y="0"/>
                </a:lnTo>
                <a:lnTo>
                  <a:pt x="7920" y="6720"/>
                </a:lnTo>
                <a:lnTo>
                  <a:pt x="0" y="6720"/>
                </a:lnTo>
                <a:lnTo>
                  <a:pt x="0" y="0"/>
                </a:lnTo>
                <a:close/>
              </a:path>
            </a:pathLst>
          </a:custGeom>
        </p:spPr>
      </p:pic>
      <p:sp>
        <p:nvSpPr>
          <p:cNvPr id="4" name="灯片编号占位符 3"/>
          <p:cNvSpPr>
            <a:spLocks noGrp="1"/>
          </p:cNvSpPr>
          <p:nvPr>
            <p:ph type="sldNum" sz="quarter" idx="12"/>
          </p:nvPr>
        </p:nvSpPr>
        <p:spPr/>
        <p:txBody>
          <a:bodyPr/>
          <a:lstStyle/>
          <a:p>
            <a:fld id="{5DD3DB80-B894-403A-B48E-6FDC1A72010E}" type="slidenum">
              <a:rPr lang="zh-CN" altLang="en-US" smtClean="0"/>
              <a:t>33</a:t>
            </a:fld>
            <a:endParaRPr lang="zh-CN" altLang="en-US"/>
          </a:p>
        </p:txBody>
      </p:sp>
    </p:spTree>
    <p:custDataLst>
      <p:tags r:id="rId1"/>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iṧ1îḑé"/>
        <p:cNvGrpSpPr/>
        <p:nvPr/>
      </p:nvGrpSpPr>
      <p:grpSpPr>
        <a:xfrm>
          <a:off x="0" y="0"/>
          <a:ext cx="0" cy="0"/>
          <a:chOff x="0" y="0"/>
          <a:chExt cx="0" cy="0"/>
        </a:xfrm>
      </p:grpSpPr>
      <p:graphicFrame>
        <p:nvGraphicFramePr>
          <p:cNvPr id="3" name="ïṩḻiḓé"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6" name="think-cell Slide" r:id="rId4" imgW="9525" imgH="9525" progId="TCLayout.ActiveDocument.1">
                  <p:embed/>
                </p:oleObj>
              </mc:Choice>
              <mc:Fallback>
                <p:oleObj name="think-cell Slide" r:id="rId4" imgW="9525" imgH="9525" progId="TCLayout.ActiveDocument.1">
                  <p:embed/>
                  <p:pic>
                    <p:nvPicPr>
                      <p:cNvPr id="0" name="ïṩḻiḓé"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îşlîḍe"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îṡ1íḍê"/>
          <p:cNvSpPr>
            <a:spLocks noGrp="1"/>
          </p:cNvSpPr>
          <p:nvPr>
            <p:ph type="ctrTitle"/>
          </p:nvPr>
        </p:nvSpPr>
        <p:spPr/>
        <p:txBody>
          <a:bodyPr/>
          <a:lstStyle/>
          <a:p>
            <a:r>
              <a:rPr lang="en-US" altLang="zh-CN"/>
              <a:t>Thanks</a:t>
            </a:r>
            <a:br>
              <a:rPr lang="en-US" altLang="zh-CN"/>
            </a:br>
            <a:endParaRPr lang="zh-CN" altLang="en-US" dirty="0"/>
          </a:p>
        </p:txBody>
      </p:sp>
    </p:spTree>
    <p:custDataLst>
      <p:tags r:id="rId2"/>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ïŝlíḑè"/>
        <p:cNvGrpSpPr/>
        <p:nvPr/>
      </p:nvGrpSpPr>
      <p:grpSpPr>
        <a:xfrm>
          <a:off x="0" y="0"/>
          <a:ext cx="0" cy="0"/>
          <a:chOff x="0" y="0"/>
          <a:chExt cx="0" cy="0"/>
        </a:xfrm>
      </p:grpSpPr>
      <p:sp>
        <p:nvSpPr>
          <p:cNvPr id="13" name="文本框 2"/>
          <p:cNvSpPr txBox="1"/>
          <p:nvPr>
            <p:custDataLst>
              <p:tags r:id="rId2"/>
            </p:custDataLst>
          </p:nvPr>
        </p:nvSpPr>
        <p:spPr>
          <a:xfrm>
            <a:off x="609562" y="343416"/>
            <a:ext cx="10972876" cy="685164"/>
          </a:xfrm>
          <a:prstGeom prst="rect">
            <a:avLst/>
          </a:prstGeom>
          <a:noFill/>
        </p:spPr>
        <p:txBody>
          <a:bodyPr wrap="square" lIns="63500" tIns="25400" rIns="63500" bIns="25400" rtlCol="0" anchor="t" anchorCtr="0">
            <a:normAutofit/>
          </a:bodyPr>
          <a:lstStyle/>
          <a:p>
            <a:pPr marL="0" indent="0" algn="ctr">
              <a:lnSpc>
                <a:spcPct val="100000"/>
              </a:lnSpc>
              <a:spcBef>
                <a:spcPts val="0"/>
              </a:spcBef>
              <a:spcAft>
                <a:spcPts val="0"/>
              </a:spcAft>
              <a:buSzPct val="100000"/>
              <a:buNone/>
            </a:pPr>
            <a:r>
              <a:rPr lang="zh-CN" altLang="en-US" sz="3600" b="1" spc="200">
                <a:solidFill>
                  <a:schemeClr val="accent1"/>
                </a:solidFill>
                <a:uFillTx/>
                <a:latin typeface="微软雅黑" panose="020B0503020204020204" pitchFamily="34" charset="-122"/>
                <a:ea typeface="微软雅黑" panose="020B0503020204020204" pitchFamily="34" charset="-122"/>
              </a:rPr>
              <a:t>项目任务</a:t>
            </a:r>
          </a:p>
        </p:txBody>
      </p:sp>
      <p:sp>
        <p:nvSpPr>
          <p:cNvPr id="14" name="Title 6"/>
          <p:cNvSpPr txBox="1"/>
          <p:nvPr>
            <p:custDataLst>
              <p:tags r:id="rId3"/>
            </p:custDataLst>
          </p:nvPr>
        </p:nvSpPr>
        <p:spPr>
          <a:xfrm>
            <a:off x="2495550" y="1981093"/>
            <a:ext cx="7200900" cy="4021848"/>
          </a:xfrm>
          <a:prstGeom prst="rect">
            <a:avLst/>
          </a:prstGeom>
          <a:noFill/>
          <a:ln w="3175">
            <a:noFill/>
            <a:prstDash val="dash"/>
          </a:ln>
        </p:spPr>
        <p:txBody>
          <a:bodyPr wrap="square" lIns="63500" tIns="25400" rIns="63500" bIns="25400" anchor="ctr" anchorCtr="0">
            <a:normAutofit/>
          </a:bodyPr>
          <a:lstStyle>
            <a:lvl1pPr algn="l" defTabSz="913765"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anose="020B0502040204020203" pitchFamily="34" charset="0"/>
              </a:defRPr>
            </a:lvl1pPr>
          </a:lstStyle>
          <a:p>
            <a:pPr marL="330200" lvl="0" indent="-330200" algn="l" fontAlgn="ctr">
              <a:lnSpc>
                <a:spcPct val="120000"/>
              </a:lnSpc>
              <a:spcBef>
                <a:spcPts val="0"/>
              </a:spcBef>
              <a:spcAft>
                <a:spcPts val="800"/>
              </a:spcAft>
              <a:buSzPct val="100000"/>
              <a:buFont typeface="Wingdings" panose="05000000000000000000" charset="0"/>
              <a:buChar char="l"/>
            </a:pPr>
            <a:r>
              <a:rPr lang="zh-CN" altLang="en-US" sz="1800" spc="20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完成“南大测试在线管理平台”的后端部分</a:t>
            </a:r>
          </a:p>
          <a:p>
            <a:pPr marL="635000" lvl="1" indent="-304800" algn="l" fontAlgn="ctr">
              <a:lnSpc>
                <a:spcPct val="120000"/>
              </a:lnSpc>
              <a:spcBef>
                <a:spcPts val="0"/>
              </a:spcBef>
              <a:spcAft>
                <a:spcPts val="800"/>
              </a:spcAft>
              <a:buSzPct val="100000"/>
              <a:buFont typeface="Arial" panose="020B0604020202020204" pitchFamily="34" charset="0"/>
              <a:buChar char="○"/>
            </a:pPr>
            <a:r>
              <a:rPr lang="en-US" altLang="zh-CN" sz="1600" spc="18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南大测试在线管理平台”是一个接受客户在线提交委托，由南京大学软件测试中心分配人员，帮助客户进行软件测试的应用。</a:t>
            </a:r>
          </a:p>
          <a:p>
            <a:pPr marL="635000" lvl="1" indent="-304800" algn="l" fontAlgn="ctr">
              <a:lnSpc>
                <a:spcPct val="120000"/>
              </a:lnSpc>
              <a:spcBef>
                <a:spcPts val="0"/>
              </a:spcBef>
              <a:spcAft>
                <a:spcPts val="800"/>
              </a:spcAft>
              <a:buSzPct val="100000"/>
              <a:buFont typeface="Arial" panose="020B0604020202020204" pitchFamily="34" charset="0"/>
              <a:buChar char="○"/>
            </a:pPr>
            <a:r>
              <a:rPr lang="en-US" altLang="zh-CN" sz="1600" spc="18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南大测试在线管理平台”为客户与测试中心之间的交互提供平台，客户可以使用移动设备或计算机在网页上进行操作，上传各类文件，并查看自己委托的当前进展；测试中心可以通过平台发送测试文件、测试报告给对应的客户。平台会保留委托进行过程中的每一次操作记录，并生成历史记录以供客户或管理员进行查询。</a:t>
            </a:r>
          </a:p>
          <a:p>
            <a:pPr marL="330200" lvl="0" indent="-330200" algn="l" fontAlgn="ctr">
              <a:lnSpc>
                <a:spcPct val="120000"/>
              </a:lnSpc>
              <a:spcBef>
                <a:spcPts val="0"/>
              </a:spcBef>
              <a:spcAft>
                <a:spcPts val="800"/>
              </a:spcAft>
              <a:buSzPct val="100000"/>
              <a:buFont typeface="Wingdings" panose="05000000000000000000" charset="0"/>
              <a:buChar char="l"/>
            </a:pPr>
            <a:r>
              <a:rPr lang="zh-CN" altLang="zh-CN" sz="1800" spc="20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我们旨在为南大测试中心打造一个高效、稳定、实用的在线管理平台，也旨在借助本软件系统的开发过程提升团队成员的专业水平和实践能力。</a:t>
            </a:r>
          </a:p>
        </p:txBody>
      </p:sp>
      <p:sp>
        <p:nvSpPr>
          <p:cNvPr id="10" name="矩形 11"/>
          <p:cNvSpPr/>
          <p:nvPr>
            <p:custDataLst>
              <p:tags r:id="rId4"/>
            </p:custDataLst>
          </p:nvPr>
        </p:nvSpPr>
        <p:spPr>
          <a:xfrm>
            <a:off x="2152650" y="1386840"/>
            <a:ext cx="7886700" cy="4853305"/>
          </a:xfrm>
          <a:prstGeom prst="rect">
            <a:avLst/>
          </a:prstGeom>
          <a:noFill/>
          <a:ln w="12700" cmpd="sng">
            <a:solidFill>
              <a:schemeClr val="accent1">
                <a:shade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en-US" altLang="zh-CN">
              <a:solidFill>
                <a:schemeClr val="lt1"/>
              </a:solidFill>
              <a:latin typeface="微软雅黑" panose="020B0503020204020204" pitchFamily="34" charset="-122"/>
              <a:ea typeface="微软雅黑" panose="020B0503020204020204" pitchFamily="34" charset="-122"/>
              <a:sym typeface="+mn-ea"/>
            </a:endParaRPr>
          </a:p>
        </p:txBody>
      </p:sp>
      <p:sp>
        <p:nvSpPr>
          <p:cNvPr id="11" name="矩形 12"/>
          <p:cNvSpPr/>
          <p:nvPr>
            <p:custDataLst>
              <p:tags r:id="rId5"/>
            </p:custDataLst>
          </p:nvPr>
        </p:nvSpPr>
        <p:spPr>
          <a:xfrm>
            <a:off x="9696524" y="2285896"/>
            <a:ext cx="1066165" cy="457204"/>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2" name="矩形 12"/>
          <p:cNvSpPr/>
          <p:nvPr>
            <p:custDataLst>
              <p:tags r:id="rId6"/>
            </p:custDataLst>
          </p:nvPr>
        </p:nvSpPr>
        <p:spPr>
          <a:xfrm>
            <a:off x="1276350" y="5240938"/>
            <a:ext cx="1219835" cy="457204"/>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3" name="灯片编号占位符 2"/>
          <p:cNvSpPr>
            <a:spLocks noGrp="1"/>
          </p:cNvSpPr>
          <p:nvPr>
            <p:ph type="sldNum" sz="quarter" idx="12"/>
          </p:nvPr>
        </p:nvSpPr>
        <p:spPr/>
        <p:txBody>
          <a:bodyPr/>
          <a:lstStyle/>
          <a:p>
            <a:fld id="{5DD3DB80-B894-403A-B48E-6FDC1A72010E}" type="slidenum">
              <a:rPr lang="zh-CN" altLang="en-US" smtClean="0"/>
              <a:t>4</a:t>
            </a:fld>
            <a:endParaRPr lang="zh-CN" altLang="en-US"/>
          </a:p>
        </p:txBody>
      </p:sp>
    </p:spTree>
    <p:custDataLst>
      <p:tags r:id="rId1"/>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ïŝlíḑè"/>
        <p:cNvGrpSpPr/>
        <p:nvPr/>
      </p:nvGrpSpPr>
      <p:grpSpPr>
        <a:xfrm>
          <a:off x="0" y="0"/>
          <a:ext cx="0" cy="0"/>
          <a:chOff x="0" y="0"/>
          <a:chExt cx="0" cy="0"/>
        </a:xfrm>
      </p:grpSpPr>
      <p:sp>
        <p:nvSpPr>
          <p:cNvPr id="17" name="文本框 4"/>
          <p:cNvSpPr txBox="1"/>
          <p:nvPr>
            <p:custDataLst>
              <p:tags r:id="rId2"/>
            </p:custDataLst>
          </p:nvPr>
        </p:nvSpPr>
        <p:spPr>
          <a:xfrm>
            <a:off x="1981086" y="1221051"/>
            <a:ext cx="8229829" cy="755649"/>
          </a:xfrm>
          <a:prstGeom prst="rect">
            <a:avLst/>
          </a:prstGeom>
          <a:noFill/>
        </p:spPr>
        <p:txBody>
          <a:bodyPr wrap="square" lIns="63500" tIns="25400" rIns="63500" bIns="25400" rtlCol="0" anchor="b" anchorCtr="0">
            <a:normAutofit/>
          </a:bodyPr>
          <a:lstStyle/>
          <a:p>
            <a:pPr marL="0" indent="0" algn="l">
              <a:lnSpc>
                <a:spcPct val="100000"/>
              </a:lnSpc>
              <a:spcBef>
                <a:spcPts val="0"/>
              </a:spcBef>
              <a:spcAft>
                <a:spcPts val="0"/>
              </a:spcAft>
              <a:buSzPct val="100000"/>
              <a:buNone/>
            </a:pPr>
            <a:r>
              <a:rPr lang="zh-CN" altLang="en-US" sz="4000" b="1" spc="240" dirty="0">
                <a:solidFill>
                  <a:schemeClr val="accent1"/>
                </a:solidFill>
                <a:uFillTx/>
                <a:latin typeface="微软雅黑" panose="020B0503020204020204" pitchFamily="34" charset="-122"/>
                <a:ea typeface="微软雅黑" panose="020B0503020204020204" pitchFamily="34" charset="-122"/>
                <a:sym typeface="+mn-ea"/>
              </a:rPr>
              <a:t>研发过程</a:t>
            </a:r>
          </a:p>
        </p:txBody>
      </p:sp>
      <p:sp>
        <p:nvSpPr>
          <p:cNvPr id="18" name="Title 6"/>
          <p:cNvSpPr txBox="1"/>
          <p:nvPr>
            <p:custDataLst>
              <p:tags r:id="rId3"/>
            </p:custDataLst>
          </p:nvPr>
        </p:nvSpPr>
        <p:spPr>
          <a:xfrm>
            <a:off x="1981086" y="2288860"/>
            <a:ext cx="8229829" cy="3348088"/>
          </a:xfrm>
          <a:prstGeom prst="rect">
            <a:avLst/>
          </a:prstGeom>
          <a:noFill/>
          <a:ln w="3175">
            <a:noFill/>
            <a:prstDash val="dash"/>
          </a:ln>
        </p:spPr>
        <p:txBody>
          <a:bodyPr wrap="square" lIns="63500" tIns="25400" rIns="63500" bIns="25400" anchor="t" anchorCtr="0">
            <a:normAutofit/>
          </a:bodyPr>
          <a:lstStyle>
            <a:lvl1pPr algn="l" defTabSz="913765"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anose="020B0502040204020203" pitchFamily="34" charset="0"/>
              </a:defRPr>
            </a:lvl1pPr>
          </a:lstStyle>
          <a:p>
            <a:pPr marL="584200" lvl="0" indent="-584200" algn="l" fontAlgn="ctr">
              <a:lnSpc>
                <a:spcPct val="120000"/>
              </a:lnSpc>
              <a:spcBef>
                <a:spcPts val="0"/>
              </a:spcBef>
              <a:spcAft>
                <a:spcPts val="800"/>
              </a:spcAft>
              <a:buSzPct val="100000"/>
              <a:buFont typeface="Wingdings" panose="05000000000000000000" charset="0"/>
              <a:buChar char="l"/>
            </a:pPr>
            <a:r>
              <a:rPr lang="zh-CN" altLang="en-US" sz="2800" spc="2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成立开发小组</a:t>
            </a:r>
          </a:p>
          <a:p>
            <a:pPr marL="584200" lvl="0" indent="-584200" algn="l" fontAlgn="ctr">
              <a:lnSpc>
                <a:spcPct val="120000"/>
              </a:lnSpc>
              <a:spcBef>
                <a:spcPts val="0"/>
              </a:spcBef>
              <a:spcAft>
                <a:spcPts val="800"/>
              </a:spcAft>
              <a:buSzPct val="100000"/>
              <a:buFont typeface="Wingdings" panose="05000000000000000000" charset="0"/>
              <a:buChar char="l"/>
            </a:pPr>
            <a:r>
              <a:rPr lang="zh-CN" altLang="en-US" sz="2800" spc="2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确定开发需求</a:t>
            </a:r>
          </a:p>
          <a:p>
            <a:pPr marL="584200" lvl="0" indent="-584200" algn="l" fontAlgn="ctr">
              <a:lnSpc>
                <a:spcPct val="120000"/>
              </a:lnSpc>
              <a:spcBef>
                <a:spcPts val="0"/>
              </a:spcBef>
              <a:spcAft>
                <a:spcPts val="800"/>
              </a:spcAft>
              <a:buSzPct val="100000"/>
              <a:buFont typeface="Wingdings" panose="05000000000000000000" charset="0"/>
              <a:buChar char="l"/>
            </a:pPr>
            <a:r>
              <a:rPr lang="zh-CN" altLang="en-US" sz="2800" spc="2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分配任务合作开发并同步测试</a:t>
            </a:r>
          </a:p>
          <a:p>
            <a:pPr marL="584200" lvl="0" indent="-584200" algn="l" fontAlgn="ctr">
              <a:lnSpc>
                <a:spcPct val="120000"/>
              </a:lnSpc>
              <a:spcBef>
                <a:spcPts val="0"/>
              </a:spcBef>
              <a:spcAft>
                <a:spcPts val="800"/>
              </a:spcAft>
              <a:buSzPct val="100000"/>
              <a:buFont typeface="Wingdings" panose="05000000000000000000" charset="0"/>
              <a:buChar char="l"/>
            </a:pPr>
            <a:r>
              <a:rPr lang="zh-CN" altLang="en-US" sz="2800" spc="2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整合项目代码，编写文档</a:t>
            </a:r>
          </a:p>
        </p:txBody>
      </p:sp>
      <p:sp>
        <p:nvSpPr>
          <p:cNvPr id="14" name="矩形 0"/>
          <p:cNvSpPr/>
          <p:nvPr>
            <p:custDataLst>
              <p:tags r:id="rId4"/>
            </p:custDataLst>
          </p:nvPr>
        </p:nvSpPr>
        <p:spPr>
          <a:xfrm>
            <a:off x="743223" y="604520"/>
            <a:ext cx="582173" cy="467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grpSp>
        <p:nvGrpSpPr>
          <p:cNvPr id="19" name="组合 3"/>
          <p:cNvGrpSpPr/>
          <p:nvPr>
            <p:custDataLst>
              <p:tags r:id="rId5"/>
            </p:custDataLst>
          </p:nvPr>
        </p:nvGrpSpPr>
        <p:grpSpPr>
          <a:xfrm>
            <a:off x="11201490" y="604520"/>
            <a:ext cx="203583" cy="74612"/>
            <a:chOff x="9839643" y="910585"/>
            <a:chExt cx="203545" cy="74612"/>
          </a:xfrm>
        </p:grpSpPr>
        <p:cxnSp>
          <p:nvCxnSpPr>
            <p:cNvPr id="20" name="直接连接符 8"/>
            <p:cNvCxnSpPr/>
            <p:nvPr>
              <p:custDataLst>
                <p:tags r:id="rId8"/>
              </p:custDataLst>
            </p:nvPr>
          </p:nvCxnSpPr>
          <p:spPr>
            <a:xfrm>
              <a:off x="9839643" y="910585"/>
              <a:ext cx="203545"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直接连接符 11"/>
            <p:cNvCxnSpPr/>
            <p:nvPr>
              <p:custDataLst>
                <p:tags r:id="rId9"/>
              </p:custDataLst>
            </p:nvPr>
          </p:nvCxnSpPr>
          <p:spPr>
            <a:xfrm>
              <a:off x="9839643" y="985197"/>
              <a:ext cx="155575"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15" name="直接连接符 12"/>
          <p:cNvCxnSpPr/>
          <p:nvPr>
            <p:custDataLst>
              <p:tags r:id="rId6"/>
            </p:custDataLst>
          </p:nvPr>
        </p:nvCxnSpPr>
        <p:spPr>
          <a:xfrm rot="5400000">
            <a:off x="1162325" y="5760385"/>
            <a:ext cx="0" cy="838207"/>
          </a:xfrm>
          <a:prstGeom prst="line">
            <a:avLst/>
          </a:prstGeom>
          <a:ln w="762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6" name="直接连接符 13"/>
          <p:cNvCxnSpPr/>
          <p:nvPr>
            <p:custDataLst>
              <p:tags r:id="rId7"/>
            </p:custDataLst>
          </p:nvPr>
        </p:nvCxnSpPr>
        <p:spPr>
          <a:xfrm>
            <a:off x="1981086" y="2139260"/>
            <a:ext cx="8229829" cy="0"/>
          </a:xfrm>
          <a:prstGeom prst="line">
            <a:avLst/>
          </a:prstGeom>
          <a:ln>
            <a:solidFill>
              <a:schemeClr val="dk1"/>
            </a:solidFill>
          </a:ln>
        </p:spPr>
        <p:style>
          <a:lnRef idx="1">
            <a:schemeClr val="accent1"/>
          </a:lnRef>
          <a:fillRef idx="0">
            <a:schemeClr val="accent1"/>
          </a:fillRef>
          <a:effectRef idx="0">
            <a:schemeClr val="accent1"/>
          </a:effectRef>
          <a:fontRef idx="minor">
            <a:schemeClr val="tx1"/>
          </a:fontRef>
        </p:style>
      </p:cxnSp>
      <p:sp>
        <p:nvSpPr>
          <p:cNvPr id="3" name="灯片编号占位符 2"/>
          <p:cNvSpPr>
            <a:spLocks noGrp="1"/>
          </p:cNvSpPr>
          <p:nvPr>
            <p:ph type="sldNum" sz="quarter" idx="12"/>
          </p:nvPr>
        </p:nvSpPr>
        <p:spPr/>
        <p:txBody>
          <a:bodyPr/>
          <a:lstStyle/>
          <a:p>
            <a:fld id="{5DD3DB80-B894-403A-B48E-6FDC1A72010E}" type="slidenum">
              <a:rPr lang="zh-CN" altLang="en-US" smtClean="0"/>
              <a:t>5</a:t>
            </a:fld>
            <a:endParaRPr lang="zh-CN" altLang="en-US"/>
          </a:p>
        </p:txBody>
      </p:sp>
    </p:spTree>
    <p:custDataLst>
      <p:tags r:id="rId1"/>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iṣlîḍé"/>
        <p:cNvGrpSpPr/>
        <p:nvPr/>
      </p:nvGrpSpPr>
      <p:grpSpPr>
        <a:xfrm>
          <a:off x="0" y="0"/>
          <a:ext cx="0" cy="0"/>
          <a:chOff x="0" y="0"/>
          <a:chExt cx="0" cy="0"/>
        </a:xfrm>
      </p:grpSpPr>
      <p:sp>
        <p:nvSpPr>
          <p:cNvPr id="5" name="îsľiḓé"/>
          <p:cNvSpPr>
            <a:spLocks noGrp="1"/>
          </p:cNvSpPr>
          <p:nvPr>
            <p:ph type="title"/>
          </p:nvPr>
        </p:nvSpPr>
        <p:spPr/>
        <p:txBody>
          <a:bodyPr>
            <a:normAutofit/>
          </a:bodyPr>
          <a:lstStyle/>
          <a:p>
            <a:r>
              <a:rPr lang="zh-CN" altLang="en-US" sz="3200" dirty="0">
                <a:sym typeface="+mn-ea"/>
              </a:rPr>
              <a:t>项目组及成员分工安排</a:t>
            </a:r>
            <a:endParaRPr lang="zh-CN" altLang="en-US" sz="3200" dirty="0"/>
          </a:p>
        </p:txBody>
      </p:sp>
      <p:sp>
        <p:nvSpPr>
          <p:cNvPr id="9" name="ïŝľîḓe"/>
          <p:cNvSpPr txBox="1"/>
          <p:nvPr/>
        </p:nvSpPr>
        <p:spPr>
          <a:xfrm>
            <a:off x="753604" y="1790699"/>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2"/>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ïŝlíḑè"/>
        <p:cNvGrpSpPr/>
        <p:nvPr/>
      </p:nvGrpSpPr>
      <p:grpSpPr>
        <a:xfrm>
          <a:off x="0" y="0"/>
          <a:ext cx="0" cy="0"/>
          <a:chOff x="0" y="0"/>
          <a:chExt cx="0" cy="0"/>
        </a:xfrm>
      </p:grpSpPr>
      <p:sp>
        <p:nvSpPr>
          <p:cNvPr id="11" name="矩形 4"/>
          <p:cNvSpPr/>
          <p:nvPr>
            <p:custDataLst>
              <p:tags r:id="rId2"/>
            </p:custDataLst>
          </p:nvPr>
        </p:nvSpPr>
        <p:spPr>
          <a:xfrm>
            <a:off x="914359" y="1371584"/>
            <a:ext cx="10363283" cy="4114833"/>
          </a:xfrm>
          <a:custGeom>
            <a:avLst/>
            <a:gdLst>
              <a:gd name="connsiteX0" fmla="*/ 0 w 9899943"/>
              <a:gd name="connsiteY0" fmla="*/ 0 h 4048220"/>
              <a:gd name="connsiteX1" fmla="*/ 9899943 w 9899943"/>
              <a:gd name="connsiteY1" fmla="*/ 0 h 4048220"/>
              <a:gd name="connsiteX2" fmla="*/ 9899943 w 9899943"/>
              <a:gd name="connsiteY2" fmla="*/ 4048220 h 4048220"/>
              <a:gd name="connsiteX3" fmla="*/ 0 w 9899943"/>
              <a:gd name="connsiteY3" fmla="*/ 4048220 h 4048220"/>
              <a:gd name="connsiteX4" fmla="*/ 0 w 9899943"/>
              <a:gd name="connsiteY4" fmla="*/ 0 h 4048220"/>
              <a:gd name="connsiteX0-1" fmla="*/ 0 w 9899943"/>
              <a:gd name="connsiteY0-2" fmla="*/ 0 h 4048220"/>
              <a:gd name="connsiteX1-3" fmla="*/ 9899943 w 9899943"/>
              <a:gd name="connsiteY1-4" fmla="*/ 0 h 4048220"/>
              <a:gd name="connsiteX2-5" fmla="*/ 9899943 w 9899943"/>
              <a:gd name="connsiteY2-6" fmla="*/ 4048220 h 4048220"/>
              <a:gd name="connsiteX3-7" fmla="*/ 808083 w 9899943"/>
              <a:gd name="connsiteY3-8" fmla="*/ 4043410 h 4048220"/>
              <a:gd name="connsiteX4-9" fmla="*/ 0 w 9899943"/>
              <a:gd name="connsiteY4-10" fmla="*/ 4048220 h 4048220"/>
              <a:gd name="connsiteX5" fmla="*/ 0 w 9899943"/>
              <a:gd name="connsiteY5" fmla="*/ 0 h 4048220"/>
              <a:gd name="connsiteX0-11" fmla="*/ 0 w 9899943"/>
              <a:gd name="connsiteY0-12" fmla="*/ 0 h 4048220"/>
              <a:gd name="connsiteX1-13" fmla="*/ 9899943 w 9899943"/>
              <a:gd name="connsiteY1-14" fmla="*/ 0 h 4048220"/>
              <a:gd name="connsiteX2-15" fmla="*/ 9899943 w 9899943"/>
              <a:gd name="connsiteY2-16" fmla="*/ 4048220 h 4048220"/>
              <a:gd name="connsiteX3-17" fmla="*/ 1730103 w 9899943"/>
              <a:gd name="connsiteY3-18" fmla="*/ 4043410 h 4048220"/>
              <a:gd name="connsiteX4-19" fmla="*/ 808083 w 9899943"/>
              <a:gd name="connsiteY4-20" fmla="*/ 4043410 h 4048220"/>
              <a:gd name="connsiteX5-21" fmla="*/ 0 w 9899943"/>
              <a:gd name="connsiteY5-22" fmla="*/ 4048220 h 4048220"/>
              <a:gd name="connsiteX6" fmla="*/ 0 w 9899943"/>
              <a:gd name="connsiteY6" fmla="*/ 0 h 4048220"/>
              <a:gd name="connsiteX0-23" fmla="*/ 808083 w 9899943"/>
              <a:gd name="connsiteY0-24" fmla="*/ 4043410 h 4134850"/>
              <a:gd name="connsiteX1-25" fmla="*/ 0 w 9899943"/>
              <a:gd name="connsiteY1-26" fmla="*/ 4048220 h 4134850"/>
              <a:gd name="connsiteX2-27" fmla="*/ 0 w 9899943"/>
              <a:gd name="connsiteY2-28" fmla="*/ 0 h 4134850"/>
              <a:gd name="connsiteX3-29" fmla="*/ 9899943 w 9899943"/>
              <a:gd name="connsiteY3-30" fmla="*/ 0 h 4134850"/>
              <a:gd name="connsiteX4-31" fmla="*/ 9899943 w 9899943"/>
              <a:gd name="connsiteY4-32" fmla="*/ 4048220 h 4134850"/>
              <a:gd name="connsiteX5-33" fmla="*/ 1730103 w 9899943"/>
              <a:gd name="connsiteY5-34" fmla="*/ 4043410 h 4134850"/>
              <a:gd name="connsiteX6-35" fmla="*/ 899523 w 9899943"/>
              <a:gd name="connsiteY6-36" fmla="*/ 4134850 h 4134850"/>
              <a:gd name="connsiteX0-37" fmla="*/ 808083 w 9899943"/>
              <a:gd name="connsiteY0-38" fmla="*/ 4043410 h 4048220"/>
              <a:gd name="connsiteX1-39" fmla="*/ 0 w 9899943"/>
              <a:gd name="connsiteY1-40" fmla="*/ 4048220 h 4048220"/>
              <a:gd name="connsiteX2-41" fmla="*/ 0 w 9899943"/>
              <a:gd name="connsiteY2-42" fmla="*/ 0 h 4048220"/>
              <a:gd name="connsiteX3-43" fmla="*/ 9899943 w 9899943"/>
              <a:gd name="connsiteY3-44" fmla="*/ 0 h 4048220"/>
              <a:gd name="connsiteX4-45" fmla="*/ 9899943 w 9899943"/>
              <a:gd name="connsiteY4-46" fmla="*/ 4048220 h 4048220"/>
              <a:gd name="connsiteX5-47" fmla="*/ 1730103 w 9899943"/>
              <a:gd name="connsiteY5-48" fmla="*/ 4043410 h 404822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9899943" h="4048220">
                <a:moveTo>
                  <a:pt x="808083" y="4043410"/>
                </a:moveTo>
                <a:lnTo>
                  <a:pt x="0" y="4048220"/>
                </a:lnTo>
                <a:lnTo>
                  <a:pt x="0" y="0"/>
                </a:lnTo>
                <a:lnTo>
                  <a:pt x="9899943" y="0"/>
                </a:lnTo>
                <a:lnTo>
                  <a:pt x="9899943" y="4048220"/>
                </a:lnTo>
                <a:lnTo>
                  <a:pt x="1730103" y="4043410"/>
                </a:lnTo>
              </a:path>
            </a:pathLst>
          </a:custGeom>
          <a:noFill/>
          <a:ln w="349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2" name="Oval 5"/>
          <p:cNvSpPr/>
          <p:nvPr>
            <p:custDataLst>
              <p:tags r:id="rId3"/>
            </p:custDataLst>
          </p:nvPr>
        </p:nvSpPr>
        <p:spPr>
          <a:xfrm>
            <a:off x="1935480" y="5181600"/>
            <a:ext cx="633095" cy="633095"/>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pPr>
            <a:endParaRPr kumimoji="0" lang="en-US" sz="9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j-lt"/>
            </a:endParaRPr>
          </a:p>
        </p:txBody>
      </p:sp>
      <p:sp>
        <p:nvSpPr>
          <p:cNvPr id="13" name="文本框 4"/>
          <p:cNvSpPr txBox="1"/>
          <p:nvPr>
            <p:custDataLst>
              <p:tags r:id="rId4"/>
            </p:custDataLst>
          </p:nvPr>
        </p:nvSpPr>
        <p:spPr>
          <a:xfrm>
            <a:off x="1935480" y="5344795"/>
            <a:ext cx="632460" cy="306705"/>
          </a:xfrm>
          <a:prstGeom prst="rect">
            <a:avLst/>
          </a:prstGeom>
          <a:noFill/>
        </p:spPr>
        <p:txBody>
          <a:bodyPr wrap="square" rtlCol="0">
            <a:normAutofit fontScale="97500"/>
          </a:bodyPr>
          <a:lstStyle/>
          <a:p>
            <a:pPr algn="ctr"/>
            <a:endParaRPr lang="en-US" altLang="zh-CN" sz="1400" dirty="0">
              <a:solidFill>
                <a:schemeClr val="lt1"/>
              </a:solidFill>
              <a:uFillTx/>
              <a:latin typeface="微软雅黑" panose="020B0503020204020204" pitchFamily="34" charset="-122"/>
              <a:ea typeface="微软雅黑" panose="020B0503020204020204" pitchFamily="34" charset="-122"/>
            </a:endParaRPr>
          </a:p>
        </p:txBody>
      </p:sp>
      <p:sp>
        <p:nvSpPr>
          <p:cNvPr id="14" name="衬底"/>
          <p:cNvSpPr/>
          <p:nvPr>
            <p:custDataLst>
              <p:tags r:id="rId5"/>
            </p:custDataLst>
          </p:nvPr>
        </p:nvSpPr>
        <p:spPr>
          <a:xfrm>
            <a:off x="5653538" y="732160"/>
            <a:ext cx="5295265" cy="5393690"/>
          </a:xfrm>
          <a:prstGeom prst="rect">
            <a:avLst/>
          </a:prstGeom>
          <a:solidFill>
            <a:srgbClr val="FFFFFF"/>
          </a:solidFill>
          <a:ln>
            <a:noFill/>
          </a:ln>
          <a:effectLst>
            <a:outerShdw blurRad="127000" dist="38100" dir="5400000" algn="t" rotWithShape="0">
              <a:schemeClr val="dk1">
                <a:lumMod val="95000"/>
                <a:lumOff val="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600" b="1">
              <a:solidFill>
                <a:schemeClr val="lt1"/>
              </a:solidFill>
              <a:latin typeface="微软雅黑" panose="020B0503020204020204" pitchFamily="34" charset="-122"/>
              <a:ea typeface="微软雅黑" panose="020B0503020204020204" pitchFamily="34" charset="-122"/>
            </a:endParaRPr>
          </a:p>
        </p:txBody>
      </p:sp>
      <p:sp>
        <p:nvSpPr>
          <p:cNvPr id="15" name="文本框 3"/>
          <p:cNvSpPr txBox="1"/>
          <p:nvPr>
            <p:custDataLst>
              <p:tags r:id="rId6"/>
            </p:custDataLst>
          </p:nvPr>
        </p:nvSpPr>
        <p:spPr>
          <a:xfrm>
            <a:off x="1547672" y="2499677"/>
            <a:ext cx="3619525" cy="1404620"/>
          </a:xfrm>
          <a:prstGeom prst="rect">
            <a:avLst/>
          </a:prstGeom>
          <a:noFill/>
        </p:spPr>
        <p:txBody>
          <a:bodyPr wrap="square" lIns="63500" tIns="25400" rIns="63500" bIns="25400" rtlCol="0" anchor="b" anchorCtr="0">
            <a:normAutofit/>
          </a:bodyPr>
          <a:lstStyle/>
          <a:p>
            <a:pPr marL="0" lvl="0" indent="0" algn="l">
              <a:lnSpc>
                <a:spcPct val="100000"/>
              </a:lnSpc>
              <a:spcBef>
                <a:spcPts val="0"/>
              </a:spcBef>
              <a:spcAft>
                <a:spcPts val="0"/>
              </a:spcAft>
              <a:buSzPct val="100000"/>
              <a:buFontTx/>
              <a:buNone/>
            </a:pPr>
            <a:r>
              <a:rPr lang="zh-CN" altLang="en-US" sz="4000" b="1" spc="240" dirty="0">
                <a:solidFill>
                  <a:schemeClr val="accent1"/>
                </a:solidFill>
                <a:uFillTx/>
                <a:latin typeface="微软雅黑" panose="020B0503020204020204" pitchFamily="34" charset="-122"/>
                <a:ea typeface="微软雅黑" panose="020B0503020204020204" pitchFamily="34" charset="-122"/>
                <a:sym typeface="+mn-ea"/>
              </a:rPr>
              <a:t>项目组及成员分工安排</a:t>
            </a:r>
          </a:p>
        </p:txBody>
      </p:sp>
      <p:sp>
        <p:nvSpPr>
          <p:cNvPr id="16" name="文本框 5"/>
          <p:cNvSpPr txBox="1"/>
          <p:nvPr>
            <p:custDataLst>
              <p:tags r:id="rId7"/>
            </p:custDataLst>
          </p:nvPr>
        </p:nvSpPr>
        <p:spPr>
          <a:xfrm>
            <a:off x="1547672" y="3975417"/>
            <a:ext cx="3618255" cy="382905"/>
          </a:xfrm>
          <a:prstGeom prst="rect">
            <a:avLst/>
          </a:prstGeom>
          <a:noFill/>
        </p:spPr>
        <p:txBody>
          <a:bodyPr wrap="square" lIns="63500" tIns="25400" rIns="63500" bIns="25400" rtlCol="0" anchor="t" anchorCtr="0">
            <a:normAutofit/>
          </a:bodyPr>
          <a:lstStyle/>
          <a:p>
            <a:pPr marL="0" indent="0" algn="l" fontAlgn="auto">
              <a:lnSpc>
                <a:spcPct val="100000"/>
              </a:lnSpc>
              <a:spcBef>
                <a:spcPts val="0"/>
              </a:spcBef>
              <a:spcAft>
                <a:spcPts val="0"/>
              </a:spcAft>
              <a:buSzPct val="100000"/>
            </a:pPr>
            <a:r>
              <a:rPr lang="zh-CN" altLang="en-US" spc="100" dirty="0">
                <a:solidFill>
                  <a:schemeClr val="lt1">
                    <a:lumMod val="50000"/>
                  </a:schemeClr>
                </a:solidFill>
                <a:uFillTx/>
                <a:latin typeface="微软雅黑" panose="020B0503020204020204" pitchFamily="34" charset="-122"/>
                <a:ea typeface="微软雅黑" panose="020B0503020204020204" pitchFamily="34" charset="-122"/>
                <a:sym typeface="+mn-ea"/>
              </a:rPr>
              <a:t>项目组为后端B组，共计6人：</a:t>
            </a:r>
          </a:p>
        </p:txBody>
      </p:sp>
      <p:sp>
        <p:nvSpPr>
          <p:cNvPr id="17" name="Title 6"/>
          <p:cNvSpPr txBox="1"/>
          <p:nvPr>
            <p:custDataLst>
              <p:tags r:id="rId8"/>
            </p:custDataLst>
          </p:nvPr>
        </p:nvSpPr>
        <p:spPr>
          <a:xfrm>
            <a:off x="5958003" y="1036307"/>
            <a:ext cx="4686325" cy="4785385"/>
          </a:xfrm>
          <a:prstGeom prst="rect">
            <a:avLst/>
          </a:prstGeom>
          <a:noFill/>
          <a:ln w="3175">
            <a:noFill/>
            <a:prstDash val="dash"/>
          </a:ln>
        </p:spPr>
        <p:txBody>
          <a:bodyPr wrap="square" lIns="63500" tIns="25400" rIns="63500" bIns="25400" anchor="ctr" anchorCtr="0">
            <a:normAutofit/>
          </a:bodyPr>
          <a:lstStyle>
            <a:lvl1pPr algn="l" defTabSz="913765"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anose="020B0502040204020203" pitchFamily="34" charset="0"/>
              </a:defRPr>
            </a:lvl1pPr>
          </a:lstStyle>
          <a:p>
            <a:pPr marL="584200" lvl="0" indent="-584200" algn="l" fontAlgn="ctr">
              <a:lnSpc>
                <a:spcPct val="120000"/>
              </a:lnSpc>
              <a:spcBef>
                <a:spcPts val="0"/>
              </a:spcBef>
              <a:spcAft>
                <a:spcPts val="800"/>
              </a:spcAft>
              <a:buSzPct val="100000"/>
              <a:buFont typeface="Wingdings" panose="05000000000000000000" charset="0"/>
              <a:buChar char="l"/>
            </a:pPr>
            <a:r>
              <a:rPr lang="zh-CN" altLang="en-US" sz="3800" spc="2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秦嘉余（组长）</a:t>
            </a:r>
          </a:p>
          <a:p>
            <a:pPr marL="584200" lvl="0" indent="-584200" algn="l" fontAlgn="ctr">
              <a:lnSpc>
                <a:spcPct val="120000"/>
              </a:lnSpc>
              <a:spcBef>
                <a:spcPts val="0"/>
              </a:spcBef>
              <a:spcAft>
                <a:spcPts val="800"/>
              </a:spcAft>
              <a:buSzPct val="100000"/>
              <a:buFont typeface="Wingdings" panose="05000000000000000000" charset="0"/>
              <a:buChar char="l"/>
            </a:pPr>
            <a:r>
              <a:rPr lang="zh-CN" altLang="en-US" sz="3800" spc="2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赖烨文</a:t>
            </a:r>
          </a:p>
          <a:p>
            <a:pPr marL="584200" lvl="0" indent="-584200" algn="l" fontAlgn="ctr">
              <a:lnSpc>
                <a:spcPct val="120000"/>
              </a:lnSpc>
              <a:spcBef>
                <a:spcPts val="0"/>
              </a:spcBef>
              <a:spcAft>
                <a:spcPts val="800"/>
              </a:spcAft>
              <a:buSzPct val="100000"/>
              <a:buFont typeface="Wingdings" panose="05000000000000000000" charset="0"/>
              <a:buChar char="l"/>
            </a:pPr>
            <a:r>
              <a:rPr lang="zh-CN" altLang="en-US" sz="3800" spc="2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刘永鹏</a:t>
            </a:r>
          </a:p>
          <a:p>
            <a:pPr marL="584200" lvl="0" indent="-584200" algn="l" fontAlgn="ctr">
              <a:lnSpc>
                <a:spcPct val="120000"/>
              </a:lnSpc>
              <a:spcBef>
                <a:spcPts val="0"/>
              </a:spcBef>
              <a:spcAft>
                <a:spcPts val="800"/>
              </a:spcAft>
              <a:buSzPct val="100000"/>
              <a:buFont typeface="Wingdings" panose="05000000000000000000" charset="0"/>
              <a:buChar char="l"/>
            </a:pPr>
            <a:r>
              <a:rPr lang="zh-CN" altLang="en-US" sz="3800" spc="2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蒋梓栩</a:t>
            </a:r>
          </a:p>
          <a:p>
            <a:pPr marL="584200" lvl="0" indent="-584200" algn="l" fontAlgn="ctr">
              <a:lnSpc>
                <a:spcPct val="120000"/>
              </a:lnSpc>
              <a:spcBef>
                <a:spcPts val="0"/>
              </a:spcBef>
              <a:spcAft>
                <a:spcPts val="800"/>
              </a:spcAft>
              <a:buSzPct val="100000"/>
              <a:buFont typeface="Wingdings" panose="05000000000000000000" charset="0"/>
              <a:buChar char="l"/>
            </a:pPr>
            <a:r>
              <a:rPr lang="zh-CN" altLang="en-US" sz="3800" spc="2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孙文戈</a:t>
            </a:r>
          </a:p>
          <a:p>
            <a:pPr marL="584200" lvl="0" indent="-584200" algn="l" fontAlgn="ctr">
              <a:lnSpc>
                <a:spcPct val="120000"/>
              </a:lnSpc>
              <a:spcBef>
                <a:spcPts val="0"/>
              </a:spcBef>
              <a:spcAft>
                <a:spcPts val="800"/>
              </a:spcAft>
              <a:buSzPct val="100000"/>
              <a:buFont typeface="Wingdings" panose="05000000000000000000" charset="0"/>
              <a:buChar char="l"/>
            </a:pPr>
            <a:r>
              <a:rPr lang="zh-CN" altLang="en-US" sz="3800" spc="2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张城铨</a:t>
            </a:r>
          </a:p>
        </p:txBody>
      </p:sp>
      <p:sp>
        <p:nvSpPr>
          <p:cNvPr id="3" name="灯片编号占位符 2"/>
          <p:cNvSpPr>
            <a:spLocks noGrp="1"/>
          </p:cNvSpPr>
          <p:nvPr>
            <p:ph type="sldNum" sz="quarter" idx="12"/>
          </p:nvPr>
        </p:nvSpPr>
        <p:spPr/>
        <p:txBody>
          <a:bodyPr/>
          <a:lstStyle/>
          <a:p>
            <a:fld id="{5DD3DB80-B894-403A-B48E-6FDC1A72010E}" type="slidenum">
              <a:rPr lang="zh-CN" altLang="en-US" smtClean="0"/>
              <a:t>7</a:t>
            </a:fld>
            <a:endParaRPr lang="zh-CN" altLang="en-US"/>
          </a:p>
        </p:txBody>
      </p:sp>
    </p:spTree>
    <p:custDataLst>
      <p:tags r:id="rId1"/>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ïŝlíḑè"/>
        <p:cNvGrpSpPr/>
        <p:nvPr/>
      </p:nvGrpSpPr>
      <p:grpSpPr>
        <a:xfrm>
          <a:off x="0" y="0"/>
          <a:ext cx="0" cy="0"/>
          <a:chOff x="0" y="0"/>
          <a:chExt cx="0" cy="0"/>
        </a:xfrm>
      </p:grpSpPr>
      <p:sp>
        <p:nvSpPr>
          <p:cNvPr id="11" name="矩形 9"/>
          <p:cNvSpPr/>
          <p:nvPr userDrawn="1">
            <p:custDataLst>
              <p:tags r:id="rId2"/>
            </p:custDataLst>
          </p:nvPr>
        </p:nvSpPr>
        <p:spPr>
          <a:xfrm>
            <a:off x="0" y="0"/>
            <a:ext cx="12192000" cy="912114"/>
          </a:xfrm>
          <a:prstGeom prst="rect">
            <a:avLst/>
          </a:prstGeom>
          <a:solidFill>
            <a:schemeClr val="dk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a:solidFill>
                <a:schemeClr val="lt1"/>
              </a:solidFill>
              <a:latin typeface="微软雅黑" panose="020B0503020204020204" pitchFamily="34" charset="-122"/>
              <a:ea typeface="微软雅黑" panose="020B0503020204020204" pitchFamily="34" charset="-122"/>
              <a:sym typeface="+mn-ea"/>
            </a:endParaRPr>
          </a:p>
        </p:txBody>
      </p:sp>
      <p:sp>
        <p:nvSpPr>
          <p:cNvPr id="12" name="矩形 13"/>
          <p:cNvSpPr/>
          <p:nvPr>
            <p:custDataLst>
              <p:tags r:id="rId3"/>
            </p:custDataLst>
          </p:nvPr>
        </p:nvSpPr>
        <p:spPr>
          <a:xfrm>
            <a:off x="2438398" y="1369440"/>
            <a:ext cx="7315215" cy="5031244"/>
          </a:xfrm>
          <a:prstGeom prst="rect">
            <a:avLst/>
          </a:prstGeom>
          <a:solidFill>
            <a:schemeClr val="lt2"/>
          </a:solidFill>
          <a:ln>
            <a:noFill/>
          </a:ln>
          <a:effectLst>
            <a:outerShdw blurRad="254000" dir="5400000" algn="ctr" rotWithShape="0">
              <a:schemeClr val="lt2">
                <a:lumMod val="75000"/>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rmAutofit/>
          </a:bodyPr>
          <a:lstStyle/>
          <a:p>
            <a:pPr lvl="0" algn="ctr">
              <a:buClrTx/>
              <a:buSzTx/>
              <a:buFontTx/>
            </a:pPr>
            <a:endParaRPr lang="zh-CN" altLang="en-US">
              <a:solidFill>
                <a:schemeClr val="dk1"/>
              </a:solidFill>
              <a:latin typeface="微软雅黑" panose="020B0503020204020204" pitchFamily="34" charset="-122"/>
              <a:ea typeface="微软雅黑" panose="020B0503020204020204" pitchFamily="34" charset="-122"/>
              <a:sym typeface="+mn-ea"/>
            </a:endParaRPr>
          </a:p>
        </p:txBody>
      </p:sp>
      <p:sp>
        <p:nvSpPr>
          <p:cNvPr id="15" name="文本框 3"/>
          <p:cNvSpPr txBox="1"/>
          <p:nvPr>
            <p:custDataLst>
              <p:tags r:id="rId4"/>
            </p:custDataLst>
          </p:nvPr>
        </p:nvSpPr>
        <p:spPr>
          <a:xfrm>
            <a:off x="457155" y="152401"/>
            <a:ext cx="11277689" cy="609600"/>
          </a:xfrm>
          <a:prstGeom prst="rect">
            <a:avLst/>
          </a:prstGeom>
          <a:noFill/>
        </p:spPr>
        <p:txBody>
          <a:bodyPr wrap="square" lIns="63500" tIns="25400" rIns="63500" bIns="25400" rtlCol="0" anchor="ctr" anchorCtr="0">
            <a:normAutofit/>
          </a:bodyPr>
          <a:lstStyle/>
          <a:p>
            <a:pPr marL="0" indent="0" algn="l">
              <a:lnSpc>
                <a:spcPct val="100000"/>
              </a:lnSpc>
              <a:spcBef>
                <a:spcPts val="0"/>
              </a:spcBef>
              <a:spcAft>
                <a:spcPts val="0"/>
              </a:spcAft>
              <a:buSzPct val="100000"/>
              <a:buNone/>
            </a:pPr>
            <a:r>
              <a:rPr lang="zh-CN" altLang="en-US" sz="3200" b="1" spc="160" dirty="0">
                <a:solidFill>
                  <a:schemeClr val="lt1"/>
                </a:solidFill>
                <a:uFillTx/>
                <a:latin typeface="微软雅黑" panose="020B0503020204020204" pitchFamily="34" charset="-122"/>
                <a:ea typeface="微软雅黑" panose="020B0503020204020204" pitchFamily="34" charset="-122"/>
                <a:sym typeface="+mn-ea"/>
              </a:rPr>
              <a:t>项目组及成员分工安排</a:t>
            </a:r>
          </a:p>
        </p:txBody>
      </p:sp>
      <p:sp>
        <p:nvSpPr>
          <p:cNvPr id="16" name="Title 6"/>
          <p:cNvSpPr txBox="1"/>
          <p:nvPr>
            <p:custDataLst>
              <p:tags r:id="rId5"/>
            </p:custDataLst>
          </p:nvPr>
        </p:nvSpPr>
        <p:spPr>
          <a:xfrm>
            <a:off x="2743200" y="1674243"/>
            <a:ext cx="6705600" cy="684797"/>
          </a:xfrm>
          <a:prstGeom prst="rect">
            <a:avLst/>
          </a:prstGeom>
          <a:noFill/>
          <a:ln w="3175">
            <a:noFill/>
            <a:prstDash val="dash"/>
          </a:ln>
        </p:spPr>
        <p:txBody>
          <a:bodyPr wrap="square" lIns="63500" tIns="25400" rIns="63500" bIns="25400" anchor="b" anchorCtr="0">
            <a:normAutofit/>
          </a:bodyPr>
          <a:lstStyle>
            <a:lvl1pPr algn="l" defTabSz="913765"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anose="020B0502040204020203" pitchFamily="34" charset="0"/>
              </a:defRPr>
            </a:lvl1pPr>
          </a:lstStyle>
          <a:p>
            <a:pPr marL="0" marR="0" lvl="0" indent="0" algn="l" defTabSz="913765" rtl="0" eaLnBrk="1" fontAlgn="auto" latinLnBrk="0" hangingPunct="1">
              <a:lnSpc>
                <a:spcPct val="100000"/>
              </a:lnSpc>
              <a:spcBef>
                <a:spcPts val="0"/>
              </a:spcBef>
              <a:spcAft>
                <a:spcPts val="0"/>
              </a:spcAft>
              <a:buSzPct val="100000"/>
              <a:buFontTx/>
              <a:buNone/>
            </a:pPr>
            <a:r>
              <a:rPr kumimoji="0" lang="zh-CN" altLang="zh-CN" sz="3600" b="1" i="0" spc="200" noProof="0" dirty="0">
                <a:ln w="3175">
                  <a:noFill/>
                  <a:prstDash val="dash"/>
                </a:ln>
                <a:solidFill>
                  <a:schemeClr val="dk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具体人员主要任务如下：</a:t>
            </a:r>
          </a:p>
        </p:txBody>
      </p:sp>
      <p:sp>
        <p:nvSpPr>
          <p:cNvPr id="17" name="Title 6"/>
          <p:cNvSpPr txBox="1"/>
          <p:nvPr>
            <p:custDataLst>
              <p:tags r:id="rId6"/>
            </p:custDataLst>
          </p:nvPr>
        </p:nvSpPr>
        <p:spPr>
          <a:xfrm>
            <a:off x="2590800" y="2513345"/>
            <a:ext cx="6705594" cy="3666350"/>
          </a:xfrm>
          <a:prstGeom prst="rect">
            <a:avLst/>
          </a:prstGeom>
          <a:noFill/>
          <a:ln w="3175">
            <a:noFill/>
            <a:prstDash val="dash"/>
          </a:ln>
        </p:spPr>
        <p:txBody>
          <a:bodyPr wrap="square" lIns="63500" tIns="25400" rIns="63500" bIns="25400" anchor="t" anchorCtr="0">
            <a:normAutofit fontScale="42500" lnSpcReduction="10000"/>
          </a:bodyPr>
          <a:lstStyle>
            <a:lvl1pPr algn="l" defTabSz="913765"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anose="020B0502040204020203" pitchFamily="34" charset="0"/>
              </a:defRPr>
            </a:lvl1pPr>
          </a:lstStyle>
          <a:p>
            <a:pPr marL="0" lvl="0" indent="0" algn="l">
              <a:lnSpc>
                <a:spcPct val="120000"/>
              </a:lnSpc>
              <a:spcBef>
                <a:spcPts val="0"/>
              </a:spcBef>
              <a:spcAft>
                <a:spcPts val="800"/>
              </a:spcAft>
              <a:buSzPct val="100000"/>
              <a:buNone/>
            </a:pPr>
            <a:r>
              <a:rPr lang="zh-CN" altLang="zh-CN" sz="64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秦嘉余：</a:t>
            </a:r>
          </a:p>
          <a:p>
            <a:pPr marL="171450" lvl="0" indent="-171450" algn="l">
              <a:lnSpc>
                <a:spcPct val="120000"/>
              </a:lnSpc>
              <a:spcBef>
                <a:spcPts val="0"/>
              </a:spcBef>
              <a:spcAft>
                <a:spcPts val="800"/>
              </a:spcAft>
              <a:buSzPct val="100000"/>
              <a:buFont typeface="Arial" panose="020B0604020202020204" pitchFamily="34" charset="0"/>
              <a:buChar char="•"/>
            </a:pPr>
            <a:r>
              <a:rPr lang="zh-CN" altLang="zh-CN"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接口</a:t>
            </a:r>
            <a:r>
              <a:rPr altLang="zh-CN"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	用户管理</a:t>
            </a:r>
            <a:r>
              <a:rPr lang="zh-CN" altLang="en-US"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a:t>
            </a:r>
            <a:r>
              <a:rPr altLang="zh-CN"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角色管理</a:t>
            </a:r>
            <a:r>
              <a:rPr lang="zh-CN" altLang="en-US"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a:t>
            </a:r>
            <a:r>
              <a:rPr altLang="zh-CN"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菜单管理</a:t>
            </a:r>
            <a:r>
              <a:rPr lang="zh-CN" altLang="en-US"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a:t>
            </a:r>
            <a:r>
              <a:rPr altLang="zh-CN"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权限管理</a:t>
            </a:r>
            <a:r>
              <a:rPr lang="zh-CN" altLang="en-US"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a:t>
            </a:r>
            <a:r>
              <a:rPr altLang="zh-CN"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登录认证</a:t>
            </a:r>
            <a:r>
              <a:rPr lang="zh-CN" altLang="en-US"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a:t>
            </a:r>
            <a:r>
              <a:rPr altLang="zh-CN"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个人信息修改</a:t>
            </a:r>
            <a:r>
              <a:rPr lang="zh-CN" altLang="en-US"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a:t>
            </a:r>
            <a:r>
              <a:rPr altLang="zh-CN"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流程日志管理</a:t>
            </a:r>
            <a:r>
              <a:rPr lang="zh-CN" altLang="en-US"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a:t>
            </a:r>
            <a:r>
              <a:rPr altLang="zh-CN"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文件存储</a:t>
            </a:r>
          </a:p>
          <a:p>
            <a:pPr marL="171450" lvl="0" indent="-171450" algn="l">
              <a:lnSpc>
                <a:spcPct val="120000"/>
              </a:lnSpc>
              <a:spcBef>
                <a:spcPts val="0"/>
              </a:spcBef>
              <a:spcAft>
                <a:spcPts val="800"/>
              </a:spcAft>
              <a:buSzPct val="100000"/>
              <a:buFont typeface="Arial" panose="020B0604020202020204" pitchFamily="34" charset="0"/>
              <a:buChar char="•"/>
            </a:pPr>
            <a:r>
              <a:rPr altLang="zh-CN"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系统	MySQL数据表格的设计、创建、维护</a:t>
            </a:r>
            <a:r>
              <a:rPr lang="zh-CN" altLang="en-US"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a:t>
            </a:r>
            <a:r>
              <a:rPr altLang="zh-CN"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持续集成，Jenkins的部署与维护</a:t>
            </a:r>
            <a:r>
              <a:rPr lang="zh-CN" altLang="en-US"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a:t>
            </a:r>
            <a:r>
              <a:rPr altLang="zh-CN"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服务器运行环境的部署与维护</a:t>
            </a:r>
          </a:p>
          <a:p>
            <a:pPr marL="171450" lvl="0" indent="-171450" algn="l">
              <a:lnSpc>
                <a:spcPct val="120000"/>
              </a:lnSpc>
              <a:spcBef>
                <a:spcPts val="0"/>
              </a:spcBef>
              <a:spcAft>
                <a:spcPts val="800"/>
              </a:spcAft>
              <a:buSzPct val="100000"/>
              <a:buFont typeface="Arial" panose="020B0604020202020204" pitchFamily="34" charset="0"/>
              <a:buChar char="•"/>
            </a:pPr>
            <a:r>
              <a:rPr altLang="zh-CN"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文档	编写设计说明书</a:t>
            </a:r>
            <a:r>
              <a:rPr lang="zh-CN" altLang="en-US"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a:t>
            </a:r>
            <a:r>
              <a:rPr altLang="zh-CN"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编写项目研发报告</a:t>
            </a:r>
            <a:r>
              <a:rPr lang="zh-CN" altLang="en-US"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a:t>
            </a:r>
            <a:r>
              <a:rPr altLang="zh-CN"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编写安装文档</a:t>
            </a:r>
            <a:r>
              <a:rPr lang="zh-CN" altLang="en-US"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a:t>
            </a:r>
            <a:r>
              <a:rPr altLang="zh-CN"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生成代码说明文档</a:t>
            </a:r>
            <a:r>
              <a:rPr lang="zh-CN" altLang="en-US"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a:t>
            </a:r>
            <a:r>
              <a:rPr altLang="zh-CN"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生成接口文档</a:t>
            </a:r>
          </a:p>
          <a:p>
            <a:pPr marL="171450" lvl="0" indent="-171450" algn="l">
              <a:lnSpc>
                <a:spcPct val="120000"/>
              </a:lnSpc>
              <a:spcBef>
                <a:spcPts val="0"/>
              </a:spcBef>
              <a:spcAft>
                <a:spcPts val="800"/>
              </a:spcAft>
              <a:buSzPct val="100000"/>
              <a:buFont typeface="Arial" panose="020B0604020202020204" pitchFamily="34" charset="0"/>
              <a:buChar char="•"/>
            </a:pPr>
            <a:r>
              <a:rPr altLang="zh-CN"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其他	协调组内分工 </a:t>
            </a:r>
            <a:r>
              <a:rPr lang="zh-CN" altLang="en-US"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a:t>
            </a:r>
            <a:r>
              <a:rPr altLang="zh-CN" sz="48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前后端组交接</a:t>
            </a:r>
          </a:p>
          <a:p>
            <a:pPr marL="171450" lvl="0" indent="-171450" algn="l">
              <a:lnSpc>
                <a:spcPct val="120000"/>
              </a:lnSpc>
              <a:spcBef>
                <a:spcPts val="0"/>
              </a:spcBef>
              <a:spcAft>
                <a:spcPts val="800"/>
              </a:spcAft>
              <a:buSzPct val="100000"/>
              <a:buNone/>
            </a:pPr>
            <a:endParaRPr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endParaRPr>
          </a:p>
          <a:p>
            <a:pPr marL="0" lvl="0" indent="0" algn="l">
              <a:lnSpc>
                <a:spcPct val="120000"/>
              </a:lnSpc>
              <a:spcBef>
                <a:spcPts val="0"/>
              </a:spcBef>
              <a:spcAft>
                <a:spcPts val="800"/>
              </a:spcAft>
              <a:buSzPct val="100000"/>
              <a:buNone/>
            </a:pPr>
            <a:r>
              <a:rPr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 	  	</a:t>
            </a:r>
            <a:endParaRPr lang="zh-CN" altLang="en-US" spc="20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3" name="矩形 11"/>
          <p:cNvSpPr/>
          <p:nvPr>
            <p:custDataLst>
              <p:tags r:id="rId7"/>
            </p:custDataLst>
          </p:nvPr>
        </p:nvSpPr>
        <p:spPr>
          <a:xfrm>
            <a:off x="10058481" y="2743222"/>
            <a:ext cx="2133617" cy="259082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4" name="矩形 10"/>
          <p:cNvSpPr/>
          <p:nvPr>
            <p:custDataLst>
              <p:tags r:id="rId8"/>
            </p:custDataLst>
          </p:nvPr>
        </p:nvSpPr>
        <p:spPr>
          <a:xfrm>
            <a:off x="0" y="2743222"/>
            <a:ext cx="2133617" cy="259082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3" name="灯片编号占位符 2"/>
          <p:cNvSpPr>
            <a:spLocks noGrp="1"/>
          </p:cNvSpPr>
          <p:nvPr>
            <p:ph type="sldNum" sz="quarter" idx="12"/>
          </p:nvPr>
        </p:nvSpPr>
        <p:spPr/>
        <p:txBody>
          <a:bodyPr/>
          <a:lstStyle/>
          <a:p>
            <a:fld id="{5DD3DB80-B894-403A-B48E-6FDC1A72010E}" type="slidenum">
              <a:rPr lang="zh-CN" altLang="en-US" smtClean="0"/>
              <a:t>8</a:t>
            </a:fld>
            <a:endParaRPr lang="zh-CN" altLang="en-US"/>
          </a:p>
        </p:txBody>
      </p:sp>
    </p:spTree>
    <p:custDataLst>
      <p:tags r:id="rId1"/>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ïŝlíḑè"/>
        <p:cNvGrpSpPr/>
        <p:nvPr/>
      </p:nvGrpSpPr>
      <p:grpSpPr>
        <a:xfrm>
          <a:off x="0" y="0"/>
          <a:ext cx="0" cy="0"/>
          <a:chOff x="0" y="0"/>
          <a:chExt cx="0" cy="0"/>
        </a:xfrm>
      </p:grpSpPr>
      <p:sp>
        <p:nvSpPr>
          <p:cNvPr id="11" name="矩形 9"/>
          <p:cNvSpPr/>
          <p:nvPr userDrawn="1">
            <p:custDataLst>
              <p:tags r:id="rId2"/>
            </p:custDataLst>
          </p:nvPr>
        </p:nvSpPr>
        <p:spPr>
          <a:xfrm>
            <a:off x="0" y="0"/>
            <a:ext cx="12192000" cy="912114"/>
          </a:xfrm>
          <a:prstGeom prst="rect">
            <a:avLst/>
          </a:prstGeom>
          <a:solidFill>
            <a:schemeClr val="dk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a:solidFill>
                <a:schemeClr val="lt1"/>
              </a:solidFill>
              <a:latin typeface="微软雅黑" panose="020B0503020204020204" pitchFamily="34" charset="-122"/>
              <a:ea typeface="微软雅黑" panose="020B0503020204020204" pitchFamily="34" charset="-122"/>
              <a:sym typeface="+mn-ea"/>
            </a:endParaRPr>
          </a:p>
        </p:txBody>
      </p:sp>
      <p:sp>
        <p:nvSpPr>
          <p:cNvPr id="12" name="矩形 13"/>
          <p:cNvSpPr/>
          <p:nvPr>
            <p:custDataLst>
              <p:tags r:id="rId3"/>
            </p:custDataLst>
          </p:nvPr>
        </p:nvSpPr>
        <p:spPr>
          <a:xfrm>
            <a:off x="2438398" y="1369440"/>
            <a:ext cx="7315215" cy="5031244"/>
          </a:xfrm>
          <a:prstGeom prst="rect">
            <a:avLst/>
          </a:prstGeom>
          <a:solidFill>
            <a:schemeClr val="lt2"/>
          </a:solidFill>
          <a:ln>
            <a:noFill/>
          </a:ln>
          <a:effectLst>
            <a:outerShdw blurRad="254000" dir="5400000" algn="ctr" rotWithShape="0">
              <a:schemeClr val="lt2">
                <a:lumMod val="75000"/>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rmAutofit/>
          </a:bodyPr>
          <a:lstStyle/>
          <a:p>
            <a:pPr lvl="0" algn="ctr">
              <a:buClrTx/>
              <a:buSzTx/>
              <a:buFontTx/>
            </a:pPr>
            <a:endParaRPr lang="zh-CN" altLang="en-US">
              <a:solidFill>
                <a:schemeClr val="dk1"/>
              </a:solidFill>
              <a:latin typeface="微软雅黑" panose="020B0503020204020204" pitchFamily="34" charset="-122"/>
              <a:ea typeface="微软雅黑" panose="020B0503020204020204" pitchFamily="34" charset="-122"/>
              <a:sym typeface="+mn-ea"/>
            </a:endParaRPr>
          </a:p>
        </p:txBody>
      </p:sp>
      <p:sp>
        <p:nvSpPr>
          <p:cNvPr id="15" name="文本框 3"/>
          <p:cNvSpPr txBox="1"/>
          <p:nvPr>
            <p:custDataLst>
              <p:tags r:id="rId4"/>
            </p:custDataLst>
          </p:nvPr>
        </p:nvSpPr>
        <p:spPr>
          <a:xfrm>
            <a:off x="457155" y="152401"/>
            <a:ext cx="11277689" cy="609600"/>
          </a:xfrm>
          <a:prstGeom prst="rect">
            <a:avLst/>
          </a:prstGeom>
          <a:noFill/>
        </p:spPr>
        <p:txBody>
          <a:bodyPr wrap="square" lIns="63500" tIns="25400" rIns="63500" bIns="25400" rtlCol="0" anchor="ctr" anchorCtr="0">
            <a:normAutofit/>
          </a:bodyPr>
          <a:lstStyle/>
          <a:p>
            <a:pPr marL="0" indent="0" algn="l">
              <a:lnSpc>
                <a:spcPct val="100000"/>
              </a:lnSpc>
              <a:spcBef>
                <a:spcPts val="0"/>
              </a:spcBef>
              <a:spcAft>
                <a:spcPts val="0"/>
              </a:spcAft>
              <a:buSzPct val="100000"/>
              <a:buNone/>
            </a:pPr>
            <a:r>
              <a:rPr lang="zh-CN" altLang="en-US" sz="3200" b="1" spc="160" dirty="0">
                <a:solidFill>
                  <a:schemeClr val="lt1"/>
                </a:solidFill>
                <a:uFillTx/>
                <a:latin typeface="微软雅黑" panose="020B0503020204020204" pitchFamily="34" charset="-122"/>
                <a:ea typeface="微软雅黑" panose="020B0503020204020204" pitchFamily="34" charset="-122"/>
                <a:sym typeface="+mn-ea"/>
              </a:rPr>
              <a:t>项目组及成员分工安排</a:t>
            </a:r>
          </a:p>
        </p:txBody>
      </p:sp>
      <p:sp>
        <p:nvSpPr>
          <p:cNvPr id="17" name="Title 6"/>
          <p:cNvSpPr txBox="1"/>
          <p:nvPr>
            <p:custDataLst>
              <p:tags r:id="rId5"/>
            </p:custDataLst>
          </p:nvPr>
        </p:nvSpPr>
        <p:spPr>
          <a:xfrm>
            <a:off x="2612390" y="1668145"/>
            <a:ext cx="6705600" cy="4573270"/>
          </a:xfrm>
          <a:prstGeom prst="rect">
            <a:avLst/>
          </a:prstGeom>
          <a:noFill/>
          <a:ln w="3175">
            <a:noFill/>
            <a:prstDash val="dash"/>
          </a:ln>
        </p:spPr>
        <p:txBody>
          <a:bodyPr wrap="square" lIns="63500" tIns="25400" rIns="63500" bIns="25400" anchor="t" anchorCtr="0">
            <a:normAutofit fontScale="67500" lnSpcReduction="10000"/>
          </a:bodyPr>
          <a:lstStyle>
            <a:lvl1pPr algn="l" defTabSz="913765"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anose="020B0502040204020203" pitchFamily="34" charset="0"/>
              </a:defRPr>
            </a:lvl1pPr>
          </a:lstStyle>
          <a:p>
            <a:pPr marL="0" lvl="0" indent="0" algn="l">
              <a:lnSpc>
                <a:spcPct val="120000"/>
              </a:lnSpc>
              <a:spcBef>
                <a:spcPts val="0"/>
              </a:spcBef>
              <a:spcAft>
                <a:spcPts val="800"/>
              </a:spcAft>
              <a:buSzPct val="100000"/>
              <a:buNone/>
            </a:pP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赖烨文：</a:t>
            </a:r>
          </a:p>
          <a:p>
            <a:pPr marL="171450" lvl="0" indent="-171450" algn="l">
              <a:lnSpc>
                <a:spcPct val="120000"/>
              </a:lnSpc>
              <a:spcBef>
                <a:spcPts val="0"/>
              </a:spcBef>
              <a:spcAft>
                <a:spcPts val="800"/>
              </a:spcAft>
              <a:buSzPct val="100000"/>
              <a:buFont typeface="Arial" panose="020B0604020202020204" pitchFamily="34" charset="0"/>
              <a:buChar char="•"/>
            </a:pP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参与参与MySQL 表格的设计、创建与维护</a:t>
            </a:r>
          </a:p>
          <a:p>
            <a:pPr marL="171450" lvl="0" indent="-171450" algn="l">
              <a:lnSpc>
                <a:spcPct val="120000"/>
              </a:lnSpc>
              <a:spcBef>
                <a:spcPts val="0"/>
              </a:spcBef>
              <a:spcAft>
                <a:spcPts val="800"/>
              </a:spcAft>
              <a:buSzPct val="100000"/>
              <a:buFont typeface="Arial" panose="020B0604020202020204" pitchFamily="34" charset="0"/>
              <a:buChar char="•"/>
            </a:pP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整体业务流程代码的编写：</a:t>
            </a:r>
          </a:p>
          <a:p>
            <a:pPr lvl="0" indent="0" algn="l">
              <a:lnSpc>
                <a:spcPct val="120000"/>
              </a:lnSpc>
              <a:spcBef>
                <a:spcPts val="0"/>
              </a:spcBef>
              <a:spcAft>
                <a:spcPts val="800"/>
              </a:spcAft>
              <a:buSzPct val="100000"/>
              <a:buFont typeface="Arial" panose="020B0604020202020204" pitchFamily="34" charset="0"/>
            </a:pPr>
            <a:r>
              <a:rPr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	</a:t>
            </a: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委托管理</a:t>
            </a:r>
          </a:p>
          <a:p>
            <a:pPr lvl="0" indent="0" algn="l">
              <a:lnSpc>
                <a:spcPct val="120000"/>
              </a:lnSpc>
              <a:spcBef>
                <a:spcPts val="0"/>
              </a:spcBef>
              <a:spcAft>
                <a:spcPts val="800"/>
              </a:spcAft>
              <a:buSzPct val="100000"/>
              <a:buFont typeface="Arial" panose="020B0604020202020204" pitchFamily="34" charset="0"/>
            </a:pPr>
            <a:r>
              <a:rPr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	</a:t>
            </a: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合同管理</a:t>
            </a:r>
          </a:p>
          <a:p>
            <a:pPr lvl="0" indent="0" algn="l">
              <a:lnSpc>
                <a:spcPct val="120000"/>
              </a:lnSpc>
              <a:spcBef>
                <a:spcPts val="0"/>
              </a:spcBef>
              <a:spcAft>
                <a:spcPts val="800"/>
              </a:spcAft>
              <a:buSzPct val="100000"/>
              <a:buFont typeface="Arial" panose="020B0604020202020204" pitchFamily="34" charset="0"/>
            </a:pPr>
            <a:r>
              <a:rPr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	</a:t>
            </a: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样品管理</a:t>
            </a:r>
          </a:p>
          <a:p>
            <a:pPr lvl="0" indent="0" algn="l">
              <a:lnSpc>
                <a:spcPct val="120000"/>
              </a:lnSpc>
              <a:spcBef>
                <a:spcPts val="0"/>
              </a:spcBef>
              <a:spcAft>
                <a:spcPts val="800"/>
              </a:spcAft>
              <a:buSzPct val="100000"/>
              <a:buFont typeface="Arial" panose="020B0604020202020204" pitchFamily="34" charset="0"/>
            </a:pPr>
            <a:r>
              <a:rPr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	</a:t>
            </a: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测试方案管理</a:t>
            </a:r>
          </a:p>
          <a:p>
            <a:pPr lvl="0" indent="0" algn="l">
              <a:lnSpc>
                <a:spcPct val="120000"/>
              </a:lnSpc>
              <a:spcBef>
                <a:spcPts val="0"/>
              </a:spcBef>
              <a:spcAft>
                <a:spcPts val="800"/>
              </a:spcAft>
              <a:buSzPct val="100000"/>
              <a:buFont typeface="Arial" panose="020B0604020202020204" pitchFamily="34" charset="0"/>
            </a:pPr>
            <a:r>
              <a:rPr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	</a:t>
            </a: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测试报告管理</a:t>
            </a:r>
          </a:p>
          <a:p>
            <a:pPr marL="171450" lvl="0" indent="-171450" algn="l">
              <a:lnSpc>
                <a:spcPct val="120000"/>
              </a:lnSpc>
              <a:spcBef>
                <a:spcPts val="0"/>
              </a:spcBef>
              <a:spcAft>
                <a:spcPts val="800"/>
              </a:spcAft>
              <a:buSzPct val="100000"/>
              <a:buFont typeface="Arial" panose="020B0604020202020204" pitchFamily="34" charset="0"/>
              <a:buChar char="•"/>
            </a:pP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参与编写项目研发报告和设计说明书</a:t>
            </a:r>
          </a:p>
          <a:p>
            <a:pPr marL="171450" lvl="0" indent="-171450" algn="l">
              <a:lnSpc>
                <a:spcPct val="120000"/>
              </a:lnSpc>
              <a:spcBef>
                <a:spcPts val="0"/>
              </a:spcBef>
              <a:spcAft>
                <a:spcPts val="800"/>
              </a:spcAft>
              <a:buSzPct val="100000"/>
            </a:pP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蒋梓栩：</a:t>
            </a:r>
          </a:p>
          <a:p>
            <a:pPr marL="171450" lvl="0" indent="-171450" algn="l">
              <a:lnSpc>
                <a:spcPct val="120000"/>
              </a:lnSpc>
              <a:spcBef>
                <a:spcPts val="0"/>
              </a:spcBef>
              <a:spcAft>
                <a:spcPts val="800"/>
              </a:spcAft>
              <a:buSzPct val="100000"/>
              <a:buFont typeface="Arial" panose="020B0604020202020204" pitchFamily="34" charset="0"/>
              <a:buChar char="•"/>
            </a:pP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委托，合同，样品，测试方案，测试报告的单元测试</a:t>
            </a:r>
          </a:p>
          <a:p>
            <a:pPr marL="171450" lvl="0" indent="-171450" algn="l">
              <a:lnSpc>
                <a:spcPct val="120000"/>
              </a:lnSpc>
              <a:spcBef>
                <a:spcPts val="0"/>
              </a:spcBef>
              <a:spcAft>
                <a:spcPts val="800"/>
              </a:spcAft>
              <a:buSzPct val="100000"/>
              <a:buFont typeface="Arial" panose="020B0604020202020204" pitchFamily="34" charset="0"/>
              <a:buChar char="•"/>
            </a:pPr>
            <a:r>
              <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rPr>
              <a:t>按照流程进行集成测试；</a:t>
            </a:r>
            <a:r>
              <a:rPr lang="zh-CN" altLang="zh-CN" sz="2000" spc="12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委托，合同等相关接口的性能测试</a:t>
            </a:r>
          </a:p>
          <a:p>
            <a:pPr marL="171450" lvl="0" indent="-171450" algn="l">
              <a:lnSpc>
                <a:spcPct val="120000"/>
              </a:lnSpc>
              <a:spcBef>
                <a:spcPts val="0"/>
              </a:spcBef>
              <a:spcAft>
                <a:spcPts val="800"/>
              </a:spcAft>
              <a:buSzPct val="100000"/>
              <a:buFont typeface="Arial" panose="020B0604020202020204" pitchFamily="34" charset="0"/>
              <a:buChar char="•"/>
            </a:pPr>
            <a:r>
              <a:rPr lang="zh-CN" altLang="zh-CN" sz="2000" spc="12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测试报告，项目汇报文档编写</a:t>
            </a:r>
            <a:endPar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endParaRPr>
          </a:p>
          <a:p>
            <a:pPr marL="171450" lvl="0" indent="-171450" algn="l">
              <a:lnSpc>
                <a:spcPct val="120000"/>
              </a:lnSpc>
              <a:spcBef>
                <a:spcPts val="0"/>
              </a:spcBef>
              <a:spcAft>
                <a:spcPts val="800"/>
              </a:spcAft>
              <a:buSzPct val="100000"/>
              <a:buFont typeface="Arial" panose="020B0604020202020204" pitchFamily="34" charset="0"/>
              <a:buChar char="•"/>
            </a:pPr>
            <a:endParaRPr lang="zh-CN" altLang="zh-CN" sz="2000" spc="120" dirty="0">
              <a:ln w="3175">
                <a:noFill/>
                <a:prstDash val="dash"/>
              </a:ln>
              <a:solidFill>
                <a:schemeClr val="dk1">
                  <a:lumMod val="75000"/>
                  <a:lumOff val="25000"/>
                </a:schemeClr>
              </a:solidFill>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3" name="矩形 11"/>
          <p:cNvSpPr/>
          <p:nvPr>
            <p:custDataLst>
              <p:tags r:id="rId6"/>
            </p:custDataLst>
          </p:nvPr>
        </p:nvSpPr>
        <p:spPr>
          <a:xfrm>
            <a:off x="10058481" y="2743222"/>
            <a:ext cx="2133617" cy="259082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4" name="矩形 10"/>
          <p:cNvSpPr/>
          <p:nvPr>
            <p:custDataLst>
              <p:tags r:id="rId7"/>
            </p:custDataLst>
          </p:nvPr>
        </p:nvSpPr>
        <p:spPr>
          <a:xfrm>
            <a:off x="0" y="2743222"/>
            <a:ext cx="2133617" cy="259082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3" name="灯片编号占位符 2"/>
          <p:cNvSpPr>
            <a:spLocks noGrp="1"/>
          </p:cNvSpPr>
          <p:nvPr>
            <p:ph type="sldNum" sz="quarter" idx="12"/>
          </p:nvPr>
        </p:nvSpPr>
        <p:spPr/>
        <p:txBody>
          <a:bodyPr/>
          <a:lstStyle/>
          <a:p>
            <a:fld id="{5DD3DB80-B894-403A-B48E-6FDC1A72010E}" type="slidenum">
              <a:rPr lang="zh-CN" altLang="en-US" smtClean="0"/>
              <a:t>9</a:t>
            </a:fld>
            <a:endParaRPr lang="zh-CN" altLang="en-US"/>
          </a:p>
        </p:txBody>
      </p:sp>
    </p:spTree>
    <p:custDataLst>
      <p:tags r:id="rId1"/>
    </p:custData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LIDE.THEME" val="#281165"/>
  <p:tag name="COMMONDATA" val="eyJoZGlkIjoiMTgxNTA1MWUzZmQ2NjU2YWIzNWNlMWIxMzYwZjJjZGQifQ=="/>
</p:tagLst>
</file>

<file path=ppt/tags/tag1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3_1"/>
  <p:tag name="KSO_WM_UNIT_ID" val="diagram20218393_5*l_h_i*1_3_1"/>
  <p:tag name="KSO_WM_TEMPLATE_CATEGORY" val="diagram"/>
  <p:tag name="KSO_WM_TEMPLATE_INDEX" val="20218393"/>
  <p:tag name="KSO_WM_UNIT_LAYERLEVEL" val="1_1_1"/>
  <p:tag name="KSO_WM_TAG_VERSION" val="1.0"/>
  <p:tag name="KSO_WM_BEAUTIFY_FLAG" val="#wm#"/>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 name="KSO_WM_UNIT_USESOURCEFORMAT_APPLY" val="1"/>
</p:tagLst>
</file>

<file path=ppt/tags/tag10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211835_1*i*1"/>
  <p:tag name="KSO_WM_TEMPLATE_CATEGORY" val="diagram"/>
  <p:tag name="KSO_WM_TEMPLATE_INDEX" val="20211835"/>
  <p:tag name="KSO_WM_UNIT_LAYERLEVEL" val="1"/>
  <p:tag name="KSO_WM_TAG_VERSION" val="1.0"/>
  <p:tag name="KSO_WM_BEAUTIFY_FLAG" val="#wm#"/>
  <p:tag name="KSO_WM_UNIT_BLOCK" val="0"/>
  <p:tag name="KSO_WM_UNIT_SM_LIMIT_TYPE" val="0"/>
  <p:tag name="KSO_WM_UNIT_DEC_AREA_ID" val="48f8936c132e4922905ae3cf91080c12"/>
  <p:tag name="KSO_WM_UNIT_DECORATE_INFO" val="{&quot;DecorateInfoH&quot;:{&quot;IsAbs&quot;:true},&quot;DecorateInfoW&quot;:{&quot;IsAbs&quot;:true},&quot;DecorateInfoX&quot;:{&quot;IsAbs&quot;:true,&quot;Pos&quot;:1},&quot;DecorateInfoY&quot;:{&quot;IsAbs&quot;:true,&quot;Pos&quot;:0},&quot;ReferentInfo&quot;:{&quot;Id&quot;:&quot;863ab5200c3f47daa38abd7a8d89ab3b&quot;,&quot;X&quot;:{&quot;Pos&quot;:1},&quot;Y&quot;:{&quot;Pos&quot;:2}},&quot;whChangeMode&quot;:0}"/>
  <p:tag name="KSO_WM_CHIP_GROUPID" val="5f0e73c28050c250ba65b219"/>
  <p:tag name="KSO_WM_CHIP_XID" val="5f631d070e9bcbd1695b17db"/>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 name="KSO_WM_UNIT_VALUE" val="53"/>
  <p:tag name="KSO_WM_TEMPLATE_ASSEMBLE_XID" val="60656f2b4054ed1e2fb804cc"/>
  <p:tag name="KSO_WM_TEMPLATE_ASSEMBLE_GROUPID" val="60656f2b4054ed1e2fb804cc"/>
</p:tagLst>
</file>

<file path=ppt/tags/tag101.xml><?xml version="1.0" encoding="utf-8"?>
<p:tagLst xmlns:a="http://schemas.openxmlformats.org/drawingml/2006/main" xmlns:r="http://schemas.openxmlformats.org/officeDocument/2006/relationships" xmlns:p="http://schemas.openxmlformats.org/presentationml/2006/main">
  <p:tag name="KSO_WM_UNIT_VALUE" val="1058*1481"/>
  <p:tag name="KSO_WM_UNIT_HIGHLIGHT" val="0"/>
  <p:tag name="KSO_WM_UNIT_COMPATIBLE" val="0"/>
  <p:tag name="KSO_WM_UNIT_DIAGRAM_ISNUMVISUAL" val="0"/>
  <p:tag name="KSO_WM_UNIT_DIAGRAM_ISREFERUNIT" val="0"/>
  <p:tag name="KSO_WM_UNIT_TYPE" val="d"/>
  <p:tag name="KSO_WM_UNIT_INDEX" val="2"/>
  <p:tag name="KSO_WM_UNIT_ID" val="diagram20211835_1*d*2"/>
  <p:tag name="KSO_WM_TEMPLATE_CATEGORY" val="diagram"/>
  <p:tag name="KSO_WM_TEMPLATE_INDEX" val="20211835"/>
  <p:tag name="KSO_WM_UNIT_LAYERLEVEL" val="1"/>
  <p:tag name="KSO_WM_TAG_VERSION" val="1.0"/>
  <p:tag name="KSO_WM_BEAUTIFY_FLAG" val="#wm#"/>
  <p:tag name="KSO_WM_CHIP_GROUPID" val="5e7310da9a230a26b9e88a19"/>
  <p:tag name="KSO_WM_CHIP_XID" val="5e7310da9a230a26b9e88a1a"/>
  <p:tag name="KSO_WM_UNIT_DEC_AREA_ID" val="8f50e64f03e44af581dacc3d84a704b6"/>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cm&quot;,&quot;fill_mode&quot;:&quot;full&quot;,&quot;sacle_strategy&quot;:&quot;smart&quot;}"/>
  <p:tag name="KSO_WM_ASSEMBLE_CHIP_INDEX" val="99a497beb81b463d81bcd4c0439c0104"/>
  <p:tag name="KSO_WM_UNIT_SUPPORT_UNIT_TYPE" val="[&quot;l&quot;,&quot;m&quot;,&quot;n&quot;,&quot;o&quot;,&quot;p&quot;,&quot;q&quot;,&quot;r&quot;,&quot;δ&quot;,&quot;ε&quot;,&quot;ζ&quot;,&quot;η&quot;,&quot;d&quot;,&quot;α&quot;,&quot;β&quot;,&quot;θ&quot;]"/>
  <p:tag name="KSO_WM_TEMPLATE_ASSEMBLE_XID" val="60656f2b4054ed1e2fb804cc"/>
  <p:tag name="KSO_WM_TEMPLATE_ASSEMBLE_GROUPID" val="60656f2b4054ed1e2fb804cc"/>
</p:tagLst>
</file>

<file path=ppt/tags/tag102.xml><?xml version="1.0" encoding="utf-8"?>
<p:tagLst xmlns:a="http://schemas.openxmlformats.org/drawingml/2006/main" xmlns:r="http://schemas.openxmlformats.org/officeDocument/2006/relationships" xmlns:p="http://schemas.openxmlformats.org/presentationml/2006/main">
  <p:tag name="KSO_WM_UNIT_VALUE" val="1058*1438"/>
  <p:tag name="KSO_WM_UNIT_HIGHLIGHT" val="0"/>
  <p:tag name="KSO_WM_UNIT_COMPATIBLE" val="0"/>
  <p:tag name="KSO_WM_UNIT_DIAGRAM_ISNUMVISUAL" val="0"/>
  <p:tag name="KSO_WM_UNIT_DIAGRAM_ISREFERUNIT" val="0"/>
  <p:tag name="KSO_WM_UNIT_TYPE" val="d"/>
  <p:tag name="KSO_WM_UNIT_INDEX" val="1"/>
  <p:tag name="KSO_WM_UNIT_ID" val="diagram20211835_1*d*1"/>
  <p:tag name="KSO_WM_TEMPLATE_CATEGORY" val="diagram"/>
  <p:tag name="KSO_WM_TEMPLATE_INDEX" val="20211835"/>
  <p:tag name="KSO_WM_UNIT_LAYERLEVEL" val="1"/>
  <p:tag name="KSO_WM_TAG_VERSION" val="1.0"/>
  <p:tag name="KSO_WM_BEAUTIFY_FLAG" val="#wm#"/>
  <p:tag name="KSO_WM_CHIP_GROUPID" val="5e7310da9a230a26b9e88a19"/>
  <p:tag name="KSO_WM_CHIP_XID" val="5e7310da9a230a26b9e88a1a"/>
  <p:tag name="KSO_WM_UNIT_DEC_AREA_ID" val="93c80f2d779a4d76b5824f7e3bfbc4d6"/>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cm&quot;,&quot;fill_mode&quot;:&quot;full&quot;,&quot;sacle_strategy&quot;:&quot;smart&quot;}"/>
  <p:tag name="KSO_WM_ASSEMBLE_CHIP_INDEX" val="2cb7bc13b1df4884be02a22822a466b4"/>
  <p:tag name="KSO_WM_UNIT_SUPPORT_UNIT_TYPE" val="[&quot;d&quot;,&quot;α&quot;]"/>
  <p:tag name="KSO_WM_TEMPLATE_ASSEMBLE_XID" val="60656f2b4054ed1e2fb804cc"/>
  <p:tag name="KSO_WM_TEMPLATE_ASSEMBLE_GROUPID" val="60656f2b4054ed1e2fb804cc"/>
</p:tagLst>
</file>

<file path=ppt/tags/tag10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04.xml><?xml version="1.0" encoding="utf-8"?>
<p:tagLst xmlns:a="http://schemas.openxmlformats.org/drawingml/2006/main" xmlns:r="http://schemas.openxmlformats.org/officeDocument/2006/relationships" xmlns:p="http://schemas.openxmlformats.org/presentationml/2006/main">
  <p:tag name="KSO_WM_UNIT_PLACING_PICTURE_USER_VIEWPORT" val="{&quot;height&quot;:7965,&quot;width&quot;:11565}"/>
</p:tagLst>
</file>

<file path=ppt/tags/tag105.xml><?xml version="1.0" encoding="utf-8"?>
<p:tagLst xmlns:a="http://schemas.openxmlformats.org/drawingml/2006/main" xmlns:r="http://schemas.openxmlformats.org/officeDocument/2006/relationships" xmlns:p="http://schemas.openxmlformats.org/presentationml/2006/main">
  <p:tag name="ISLIDE.THEME" val="https://www.islide.cc;"/>
  <p:tag name="KSO_WM_BEAUTIFY_FLAG" val="#wm#"/>
  <p:tag name="KSO_WM_TEMPLATE_CATEGORY" val="diagram"/>
  <p:tag name="KSO_WM_TEMPLATE_INDEX" val="20217097"/>
  <p:tag name="KSO_WM_SLIDE_ID" val="diagram20217097_1"/>
  <p:tag name="KSO_WM_TEMPLATE_SUBCATEGORY" val="21"/>
  <p:tag name="KSO_WM_TEMPLATE_MASTER_TYPE" val="0"/>
  <p:tag name="KSO_WM_TEMPLATE_COLOR_TYPE" val="1"/>
  <p:tag name="KSO_WM_SLIDE_ITEM_CNT" val="0"/>
  <p:tag name="KSO_WM_SLIDE_INDEX" val="1"/>
  <p:tag name="KSO_WM_TAG_VERSION" val="1.0"/>
  <p:tag name="KSO_WM_SLIDE_LAYOUT" val="a_d_f"/>
  <p:tag name="KSO_WM_SLIDE_LAYOUT_CNT" val="1_1_1"/>
  <p:tag name="KSO_WM_SLIDE_LAYOUT_INFO" val="{&quot;direction&quot;:1,&quot;id&quot;:&quot;2021-04-01T16:16:32&quot;,&quot;maxSize&quot;:{&quot;size1&quot;:57.5},&quot;minSize&quot;:{&quot;size1&quot;:32.6},&quot;normalSize&quot;:{&quot;size1&quot;:39.475},&quot;subLayout&quot;:[{&quot;id&quot;:&quot;2021-04-01T16:16:32&quot;,&quot;maxSize&quot;:{&quot;size1&quot;:62.289771016438806},&quot;minSize&quot;:{&quot;size1&quot;:26.6897710164388},&quot;normalSize&quot;:{&quot;size1&quot;:28.589771016438796},&quot;subLayout&quot;:[{&quot;id&quot;:&quot;2021-04-01T16:16:32&quot;,&quot;margin&quot;:{&quot;bottom&quot;:0.02600000612437725,&quot;left&quot;:2.5399999618530273,&quot;right&quot;:0.02600000612437725,&quot;top&quot;:1.6929999589920044},&quot;type&quot;:0},{&quot;id&quot;:&quot;2021-04-01T16:16:32&quot;,&quot;margin&quot;:{&quot;bottom&quot;:1.6929999589920044,&quot;left&quot;:2.5399999618530273,&quot;right&quot;:0.02600000612437725,&quot;top&quot;:0.7919999957084656},&quot;type&quot;:0}],&quot;type&quot;:0},{&quot;id&quot;:&quot;2021-04-01T16:16:32&quot;,&quot;margin&quot;:{&quot;bottom&quot;:0,&quot;left&quot;:1.6670000553131104,&quot;right&quot;:0,&quot;top&quot;:0},&quot;type&quot;:0}],&quot;type&quot;:0}"/>
  <p:tag name="KSO_WM_SLIDE_RATIO" val="1.777778"/>
  <p:tag name="KSO_WM_CHIP_INFOS" val="{&quot;type&quot;:0,&quot;layout_type&quot;:&quot;leftright&quot;,&quot;layout_feature&quot;:1,&quot;aspect_ratio&quot;:&quot;16:9&quot;,&quot;same_font_size&quot;:false,&quot;diagram&quot;:{&quot;type&quot;:[],&quot;direction&quot;:0,&quot;isSupportDecBetweenItems&quot;:false},&quot;tags&quot;:{&quot;style&quot;:[&quot;商务&quot;,&quot;简约&quot;,&quot;文艺清新&quot;,&quot;中国风&quot;,&quot;卡通&quot;,&quot;欧美风&quot;,&quot;黑板风&quot;,&quot;渐变风&quot;,&quot;党政风&quot;]},&quot;slide_type&quot;:[&quot;text&quot;]}"/>
  <p:tag name="KSO_WM_CHIP_XID" val="5fadfa57998712faa657abf3"/>
  <p:tag name="KSO_WM_CHIP_FILLPROP" val="[[{&quot;text_align&quot;:&quot;cm&quot;,&quot;text_direction&quot;:&quot;horizontal&quot;,&quot;support_features&quot;:[&quot;creativepic&quot;],&quot;support_big_font&quot;:false,&quot;picture_toward&quot;:1,&quot;picture_dockside&quot;:[&quot;cb&quot;,&quot;rm&quot;,&quot;ct&quot;],&quot;fill_id&quot;:&quot;8d116bd8b1074587a970747df3fba75a&quot;,&quot;fill_align&quot;:&quot;cm&quot;,&quot;chip_types&quot;:[&quot;picture&quot;]},{&quot;text_align&quot;:&quot;lb&quot;,&quot;text_direction&quot;:&quot;horizontal&quot;,&quot;support_big_font&quot;:false,&quot;picture_toward&quot;:0,&quot;picture_dockside&quot;:[],&quot;fill_id&quot;:&quot;0c52f29da84d4a8fa032b62f9d0b0d9e&quot;,&quot;fill_align&quot;:&quot;lb&quot;,&quot;chip_types&quot;:[&quot;text&quot;,&quot;header&quot;]},{&quot;text_align&quot;:&quot;lt&quot;,&quot;text_direction&quot;:&quot;horizontal&quot;,&quot;support_big_font&quot;:false,&quot;picture_toward&quot;:0,&quot;picture_dockside&quot;:[],&quot;fill_id&quot;:&quot;1d610f50166043debd746d9fc47ffedb&quot;,&quot;fill_align&quot;:&quot;lt&quot;,&quot;chip_types&quot;:[&quot;text&quot;]}]]"/>
  <p:tag name="KSO_WM_CHIP_DECFILLPROP" val="[]"/>
  <p:tag name="KSO_WM_SLIDE_TYPE" val="text"/>
  <p:tag name="KSO_WM_SLIDE_SIZE" val="888*540"/>
  <p:tag name="KSO_WM_SLIDE_POSITION" val="72*0"/>
  <p:tag name="KSO_WM_CHIP_GROUPID" val="5fadfa57998712faa657abf2"/>
  <p:tag name="KSO_WM_SLIDE_BK_DARK_LIGHT" val="2"/>
  <p:tag name="KSO_WM_SLIDE_BACKGROUND_TYPE" val="general"/>
  <p:tag name="KSO_WM_SLIDE_SUPPORT_FEATURE_TYPE" val="8"/>
  <p:tag name="KSO_WM_SLIDE_SUBTYPE" val="picTxt"/>
  <p:tag name="KSO_WM_TEMPLATE_ASSEMBLE_XID" val="606570604054ed1e2fb814e9"/>
  <p:tag name="KSO_WM_TEMPLATE_ASSEMBLE_GROUPID" val="606570604054ed1e2fb814e9"/>
</p:tagLst>
</file>

<file path=ppt/tags/tag106.xml><?xml version="1.0" encoding="utf-8"?>
<p:tagLst xmlns:a="http://schemas.openxmlformats.org/drawingml/2006/main" xmlns:r="http://schemas.openxmlformats.org/officeDocument/2006/relationships" xmlns:p="http://schemas.openxmlformats.org/presentationml/2006/main">
  <p:tag name="KSO_WM_UNIT_PICTURE_TOWARD" val="1"/>
  <p:tag name="KSO_WM_UNIT_PICTURE_DOCKSIDE" val="rm"/>
  <p:tag name="KSO_WM_UNIT_VALUE" val="1599*1988"/>
  <p:tag name="KSO_WM_UNIT_HIGHLIGHT" val="0"/>
  <p:tag name="KSO_WM_UNIT_COMPATIBLE" val="0"/>
  <p:tag name="KSO_WM_UNIT_DIAGRAM_ISNUMVISUAL" val="0"/>
  <p:tag name="KSO_WM_UNIT_DIAGRAM_ISREFERUNIT" val="0"/>
  <p:tag name="KSO_WM_DIAGRAM_GROUP_CODE" val="ζ1-1"/>
  <p:tag name="KSO_WM_UNIT_TYPE" val="ζ_h_d"/>
  <p:tag name="KSO_WM_UNIT_INDEX" val="1_1_1"/>
  <p:tag name="KSO_WM_UNIT_ID" val="diagram20215234_1*ζ_h_d*1_1_1"/>
  <p:tag name="KSO_WM_TEMPLATE_CATEGORY" val="diagram"/>
  <p:tag name="KSO_WM_TEMPLATE_INDEX" val="20215234"/>
  <p:tag name="KSO_WM_UNIT_LAYERLEVEL" val="1_1_1"/>
  <p:tag name="KSO_WM_TAG_VERSION" val="1.0"/>
  <p:tag name="KSO_WM_BEAUTIFY_FLAG" val="#wm#"/>
  <p:tag name="KSO_WM_UNIT_DIAGRAM_MODELTYPE" val="creativePicture"/>
  <p:tag name="KSO_WM_UNIT_USESOURCEFORMAT_APPLY" val="1"/>
</p:tagLst>
</file>

<file path=ppt/tags/tag107.xml><?xml version="1.0" encoding="utf-8"?>
<p:tagLst xmlns:a="http://schemas.openxmlformats.org/drawingml/2006/main" xmlns:r="http://schemas.openxmlformats.org/officeDocument/2006/relationships" xmlns:p="http://schemas.openxmlformats.org/presentationml/2006/main">
  <p:tag name="KSO_WM_UNIT_PICTURE_TOWARD" val="1"/>
  <p:tag name="KSO_WM_UNIT_PICTURE_DOCKSIDE" val="rm"/>
  <p:tag name="KSO_WM_UNIT_HIGHLIGHT" val="0"/>
  <p:tag name="KSO_WM_UNIT_COMPATIBLE" val="0"/>
  <p:tag name="KSO_WM_UNIT_DIAGRAM_ISNUMVISUAL" val="0"/>
  <p:tag name="KSO_WM_UNIT_DIAGRAM_ISREFERUNIT" val="0"/>
  <p:tag name="KSO_WM_DIAGRAM_GROUP_CODE" val="ζ1-1"/>
  <p:tag name="KSO_WM_UNIT_TYPE" val="ζ_h_i"/>
  <p:tag name="KSO_WM_UNIT_INDEX" val="1_1_1"/>
  <p:tag name="KSO_WM_UNIT_ID" val="diagram20215234_1*ζ_h_i*1_1_1"/>
  <p:tag name="KSO_WM_TEMPLATE_CATEGORY" val="diagram"/>
  <p:tag name="KSO_WM_TEMPLATE_INDEX" val="20215234"/>
  <p:tag name="KSO_WM_UNIT_LAYERLEVEL" val="1_1_1"/>
  <p:tag name="KSO_WM_TAG_VERSION" val="1.0"/>
  <p:tag name="KSO_WM_BEAUTIFY_FLAG" val="#wm#"/>
  <p:tag name="KSO_WM_UNIT_DIAGRAM_MODELTYPE" val="creativePicture"/>
  <p:tag name="KSO_WM_UNIT_USESOURCEFORMAT_APPLY" val="1"/>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08.xml><?xml version="1.0" encoding="utf-8"?>
<p:tagLst xmlns:a="http://schemas.openxmlformats.org/drawingml/2006/main" xmlns:r="http://schemas.openxmlformats.org/officeDocument/2006/relationships" xmlns:p="http://schemas.openxmlformats.org/presentationml/2006/main">
  <p:tag name="KSO_WM_UNIT_PICTURE_TOWARD" val="1"/>
  <p:tag name="KSO_WM_UNIT_PICTURE_DOCKSIDE" val="rm"/>
  <p:tag name="KSO_WM_UNIT_HIGHLIGHT" val="0"/>
  <p:tag name="KSO_WM_UNIT_COMPATIBLE" val="0"/>
  <p:tag name="KSO_WM_UNIT_DIAGRAM_ISNUMVISUAL" val="0"/>
  <p:tag name="KSO_WM_UNIT_DIAGRAM_ISREFERUNIT" val="0"/>
  <p:tag name="KSO_WM_DIAGRAM_GROUP_CODE" val="ζ1-1"/>
  <p:tag name="KSO_WM_UNIT_TYPE" val="ζ_h_i"/>
  <p:tag name="KSO_WM_UNIT_INDEX" val="1_1_2"/>
  <p:tag name="KSO_WM_UNIT_ID" val="diagram20215234_1*ζ_h_i*1_1_2"/>
  <p:tag name="KSO_WM_TEMPLATE_CATEGORY" val="diagram"/>
  <p:tag name="KSO_WM_TEMPLATE_INDEX" val="20215234"/>
  <p:tag name="KSO_WM_UNIT_LAYERLEVEL" val="1_1_1"/>
  <p:tag name="KSO_WM_TAG_VERSION" val="1.0"/>
  <p:tag name="KSO_WM_BEAUTIFY_FLAG" val="#wm#"/>
  <p:tag name="KSO_WM_UNIT_DIAGRAM_MODELTYPE" val="creativePicture"/>
  <p:tag name="KSO_WM_UNIT_USESOURCEFORMAT_APPLY" val="1"/>
  <p:tag name="KSO_WM_UNIT_TEXT_FILL_FORE_SCHEMECOLOR_INDEX_BRIGHTNESS" val="0"/>
  <p:tag name="KSO_WM_UNIT_TEXT_FILL_FORE_SCHEMECOLOR_INDEX" val="13"/>
  <p:tag name="KSO_WM_UNIT_TEXT_FILL_TYPE" val="1"/>
</p:tagLst>
</file>

<file path=ppt/tags/tag109.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6"/>
  <p:tag name="KSO_WM_UNIT_HIGHLIGHT" val="0"/>
  <p:tag name="KSO_WM_UNIT_COMPATIBLE" val="0"/>
  <p:tag name="KSO_WM_UNIT_DIAGRAM_ISNUMVISUAL" val="0"/>
  <p:tag name="KSO_WM_UNIT_DIAGRAM_ISREFERUNIT" val="0"/>
  <p:tag name="KSO_WM_UNIT_TYPE" val="a"/>
  <p:tag name="KSO_WM_UNIT_INDEX" val="1"/>
  <p:tag name="KSO_WM_UNIT_ID" val="diagram20217097_1*a*1"/>
  <p:tag name="KSO_WM_TEMPLATE_CATEGORY" val="diagram"/>
  <p:tag name="KSO_WM_TEMPLATE_INDEX" val="20217097"/>
  <p:tag name="KSO_WM_UNIT_LAYERLEVEL" val="1"/>
  <p:tag name="KSO_WM_TAG_VERSION" val="1.0"/>
  <p:tag name="KSO_WM_BEAUTIFY_FLAG" val="#wm#"/>
  <p:tag name="KSO_WM_UNIT_PRESET_TEXT" val="标题"/>
  <p:tag name="KSO_WM_UNIT_DEFAULT_FONT" val="24;44;4"/>
  <p:tag name="KSO_WM_UNIT_BLOCK" val="0"/>
  <p:tag name="KSO_WM_UNIT_SHOW_EDIT_AREA_INDICATION" val="1"/>
  <p:tag name="KSO_WM_CHIP_GROUPID" val="5e7881253197e252a37019b5"/>
  <p:tag name="KSO_WM_CHIP_XID" val="5e7881253197e252a37019b6"/>
  <p:tag name="KSO_WM_UNIT_DEC_AREA_ID" val="7f14af1609284ea0b607822725b8c5a7"/>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b&quot;,&quot;fill_mode&quot;:&quot;full&quot;,&quot;sacle_strategy&quot;:&quot;smart&quot;}"/>
  <p:tag name="KSO_WM_ASSEMBLE_CHIP_INDEX" val="15546f7fe9064abe988ac6502b0bb09f"/>
  <p:tag name="KSO_WM_UNIT_TEXT_FILL_FORE_SCHEMECOLOR_INDEX_BRIGHTNESS" val="0"/>
  <p:tag name="KSO_WM_UNIT_TEXT_FILL_FORE_SCHEMECOLOR_INDEX" val="13"/>
  <p:tag name="KSO_WM_UNIT_TEXT_FILL_TYPE" val="1"/>
  <p:tag name="KSO_WM_TEMPLATE_ASSEMBLE_XID" val="606570604054ed1e2fb814e9"/>
  <p:tag name="KSO_WM_TEMPLATE_ASSEMBLE_GROUPID" val="606570604054ed1e2fb814e9"/>
</p:tagLst>
</file>

<file path=ppt/tags/tag11.xml><?xml version="1.0" encoding="utf-8"?>
<p:tagLst xmlns:a="http://schemas.openxmlformats.org/drawingml/2006/main" xmlns:r="http://schemas.openxmlformats.org/officeDocument/2006/relationships" xmlns:p="http://schemas.openxmlformats.org/presentationml/2006/main">
  <p:tag name="KSO_WM_UNIT_SUBTYPE" val="a"/>
  <p:tag name="KSO_WM_UNIT_PRESET_TEXT" val="单击此处添加正文内容"/>
  <p:tag name="KSO_WM_UNIT_NOCLEAR" val="0"/>
  <p:tag name="KSO_WM_UNIT_HIGHLIGHT" val="0"/>
  <p:tag name="KSO_WM_UNIT_COMPATIBLE" val="0"/>
  <p:tag name="KSO_WM_UNIT_DIAGRAM_ISNUMVISUAL" val="0"/>
  <p:tag name="KSO_WM_UNIT_DIAGRAM_ISREFERUNIT" val="0"/>
  <p:tag name="KSO_WM_DIAGRAM_GROUP_CODE" val="l1-1"/>
  <p:tag name="KSO_WM_UNIT_TYPE" val="l_h_f"/>
  <p:tag name="KSO_WM_UNIT_INDEX" val="1_4_1"/>
  <p:tag name="KSO_WM_UNIT_ID" val="diagram20218393_5*l_h_f*1_4_1"/>
  <p:tag name="KSO_WM_TEMPLATE_CATEGORY" val="diagram"/>
  <p:tag name="KSO_WM_TEMPLATE_INDEX" val="20218393"/>
  <p:tag name="KSO_WM_UNIT_LAYERLEVEL" val="1_1_1"/>
  <p:tag name="KSO_WM_TAG_VERSION" val="1.0"/>
  <p:tag name="KSO_WM_BEAUTIFY_FLAG" val="#wm#"/>
  <p:tag name="KSO_WM_UNIT_TEXT_FILL_FORE_SCHEMECOLOR_INDEX_BRIGHTNESS" val="0.25"/>
  <p:tag name="KSO_WM_UNIT_TEXT_FILL_FORE_SCHEMECOLOR_INDEX" val="13"/>
  <p:tag name="KSO_WM_UNIT_TEXT_FILL_TYPE" val="1"/>
  <p:tag name="KSO_WM_UNIT_USESOURCEFORMAT_APPLY" val="1"/>
</p:tagLst>
</file>

<file path=ppt/tags/tag110.xml><?xml version="1.0" encoding="utf-8"?>
<p:tagLst xmlns:a="http://schemas.openxmlformats.org/drawingml/2006/main" xmlns:r="http://schemas.openxmlformats.org/officeDocument/2006/relationships" xmlns:p="http://schemas.openxmlformats.org/presentationml/2006/main">
  <p:tag name="KSO_WM_UNIT_TEXT_SUBTYPE" val="a"/>
  <p:tag name="KSO_WM_UNIT_SUBTYPE" val="a"/>
  <p:tag name="KSO_WM_UNIT_PRESET_TEXT" val="单击此处添加正文，文字是您思想的提炼，为了演示发布的良好效果，请言简意赅的阐述您的观点。"/>
  <p:tag name="KSO_WM_UNIT_NOCLEAR" val="0"/>
  <p:tag name="KSO_WM_UNIT_HIGHLIGHT" val="0"/>
  <p:tag name="KSO_WM_UNIT_COMPATIBLE" val="0"/>
  <p:tag name="KSO_WM_UNIT_DIAGRAM_ISNUMVISUAL" val="0"/>
  <p:tag name="KSO_WM_UNIT_DIAGRAM_ISREFERUNIT" val="0"/>
  <p:tag name="KSO_WM_UNIT_TYPE" val="f"/>
  <p:tag name="KSO_WM_UNIT_INDEX" val="1"/>
  <p:tag name="KSO_WM_UNIT_ID" val="diagram20217097_1*f*1"/>
  <p:tag name="KSO_WM_TEMPLATE_CATEGORY" val="diagram"/>
  <p:tag name="KSO_WM_TEMPLATE_INDEX" val="20217097"/>
  <p:tag name="KSO_WM_UNIT_LAYERLEVEL" val="1"/>
  <p:tag name="KSO_WM_TAG_VERSION" val="1.0"/>
  <p:tag name="KSO_WM_BEAUTIFY_FLAG" val="#wm#"/>
  <p:tag name="KSO_WM_UNIT_DEFAULT_FONT" val="14;20;2"/>
  <p:tag name="KSO_WM_UNIT_BLOCK" val="0"/>
  <p:tag name="KSO_WM_UNIT_VALUE" val="72"/>
  <p:tag name="KSO_WM_UNIT_SHOW_EDIT_AREA_INDICATION" val="1"/>
  <p:tag name="KSO_WM_CHIP_GROUPID" val="5e6b05596848fb12bee65ac8"/>
  <p:tag name="KSO_WM_CHIP_XID" val="5e6b05596848fb12bee65aca"/>
  <p:tag name="KSO_WM_UNIT_DEC_AREA_ID" val="70347f9784f64ccca9123b27c1d2bbd6"/>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t&quot;,&quot;fill_mode&quot;:&quot;full&quot;,&quot;sacle_strategy&quot;:&quot;smart&quot;}"/>
  <p:tag name="KSO_WM_ASSEMBLE_CHIP_INDEX" val="1d39d7b218794cc0bc8d550570994862"/>
  <p:tag name="KSO_WM_UNIT_TEXT_FILL_FORE_SCHEMECOLOR_INDEX_BRIGHTNESS" val="0.25"/>
  <p:tag name="KSO_WM_UNIT_TEXT_FILL_FORE_SCHEMECOLOR_INDEX" val="13"/>
  <p:tag name="KSO_WM_UNIT_TEXT_FILL_TYPE" val="1"/>
  <p:tag name="KSO_WM_TEMPLATE_ASSEMBLE_XID" val="606570604054ed1e2fb814e9"/>
  <p:tag name="KSO_WM_TEMPLATE_ASSEMBLE_GROUPID" val="606570604054ed1e2fb814e9"/>
</p:tagLst>
</file>

<file path=ppt/tags/tag111.xml><?xml version="1.0" encoding="utf-8"?>
<p:tagLst xmlns:a="http://schemas.openxmlformats.org/drawingml/2006/main" xmlns:r="http://schemas.openxmlformats.org/officeDocument/2006/relationships" xmlns:p="http://schemas.openxmlformats.org/presentationml/2006/main">
  <p:tag name="ISLIDE.THEME" val="https://www.islide.cc;"/>
  <p:tag name="KSO_WM_BEAUTIFY_FLAG" val="#wm#"/>
  <p:tag name="KSO_WM_TEMPLATE_CATEGORY" val="diagram"/>
  <p:tag name="KSO_WM_TEMPLATE_INDEX" val="20213015"/>
  <p:tag name="KSO_WM_SLIDE_LAYOUT_INFO" val="{&quot;backgroundInfo&quot;:[{&quot;bottom&quot;:0,&quot;bottomAbs&quot;:false,&quot;left&quot;:0,&quot;leftAbs&quot;:false,&quot;right&quot;:0,&quot;rightAbs&quot;:false,&quot;top&quot;:0,&quot;topAbs&quot;:false,&quot;type&quot;:&quot;general&quot;},{&quot;bottom&quot;:0,&quot;bottomAbs&quot;:false,&quot;left&quot;:0,&quot;leftAbs&quot;:false,&quot;right&quot;:0,&quot;rightAbs&quot;:false,&quot;top&quot;:0,&quot;topAbs&quot;:false,&quot;type&quot;:&quot;frame&quot;}],&quot;direction&quot;:1,&quot;id&quot;:&quot;2021-04-01T15:30:05&quot;,&quot;maxSize&quot;:{&quot;size1&quot;:47.49964322217844},&quot;minSize&quot;:{&quot;size1&quot;:41.199643222178445},&quot;normalSize&quot;:{&quot;size1&quot;:45.78089322217844},&quot;subLayout&quot;:[{&quot;id&quot;:&quot;2021-04-01T15:30:05&quot;,&quot;maxSize&quot;:{&quot;size1&quot;:46.700394039649375},&quot;minSize&quot;:{&quot;size1&quot;:20.00039403964938},&quot;normalSize&quot;:{&quot;size1&quot;:26.76514291939217},&quot;subLayout&quot;:[{&quot;id&quot;:&quot;2021-04-01T15:30:05&quot;,&quot;margin&quot;:{&quot;bottom&quot;:0.02600000612437725,&quot;left&quot;:1.6929999589920044,&quot;right&quot;:0,&quot;top&quot;:1.6929999589920044},&quot;type&quot;:0},{&quot;id&quot;:&quot;2021-04-01T15:30:05&quot;,&quot;margin&quot;:{&quot;bottom&quot;:1.6929999589920044,&quot;left&quot;:1.6929999589920044,&quot;right&quot;:0,&quot;top&quot;:0.8199999928474426},&quot;type&quot;:0}],&quot;type&quot;:0},{&quot;id&quot;:&quot;2021-04-01T15:30:05&quot;,&quot;margin&quot;:{&quot;bottom&quot;:1.6929999589920044,&quot;left&quot;:1.2699999809265137,&quot;right&quot;:1.6929999589920044,&quot;top&quot;:1.6929999589920044},&quot;type&quot;:0}],&quot;type&quot;:0}"/>
  <p:tag name="KSO_WM_SLIDE_BACKGROUND" val="[&quot;general&quot;,&quot;frame&quot;]"/>
  <p:tag name="KSO_WM_SLIDE_RATIO" val="1.777778"/>
  <p:tag name="KSO_WM_CHIP_INFOS" val="{&quot;type&quot;:0,&quot;layout_type&quot;:&quot;leftright&quot;,&quot;layout_feature&quot;:1,&quot;aspect_ratio&quot;:&quot;16:9&quot;,&quot;same_font_size&quot;:false,&quot;diagram&quot;:{&quot;type&quot;:[],&quot;direction&quot;:0,&quot;isSupportDecBetweenItems&quot;:false},&quot;tags&quot;:{&quot;style&quot;:[&quot;商务&quot;,&quot;简约&quot;,&quot;文艺清新&quot;,&quot;中国风&quot;,&quot;卡通&quot;,&quot;欧美风&quot;,&quot;黑板风&quot;,&quot;渐变风&quot;,&quot;党政风&quot;]},&quot;slide_type&quot;:[&quot;text&quot;]}"/>
  <p:tag name="KSO_WM_CHIP_XID" val="5ecf868286bf8da9b67401ed"/>
  <p:tag name="KSO_WM_CHIP_FILLPROP" val="[[{&quot;text_align&quot;:&quot;lb&quot;,&quot;text_direction&quot;:&quot;horizontal&quot;,&quot;support_big_font&quot;:false,&quot;picture_toward&quot;:0,&quot;picture_dockside&quot;:[],&quot;fill_id&quot;:&quot;722accd572074b41a2d4cf8c733c9957&quot;,&quot;fill_align&quot;:&quot;lb&quot;,&quot;chip_types&quot;:[&quot;header&quot;]},{&quot;text_align&quot;:&quot;lt&quot;,&quot;text_direction&quot;:&quot;horizontal&quot;,&quot;support_features&quot;:[&quot;collage&quot;],&quot;support_big_font&quot;:false,&quot;picture_toward&quot;:0,&quot;picture_dockside&quot;:[],&quot;fill_id&quot;:&quot;164c300f690d423ab1b6e3b65edb0bf9&quot;,&quot;fill_align&quot;:&quot;lt&quot;,&quot;chip_types&quot;:[&quot;pictext&quot;,&quot;text&quot;,&quot;picture&quot;,&quot;chart&quot;,&quot;table&quot;,&quot;video&quot;]},{&quot;text_align&quot;:&quot;lm&quot;,&quot;text_direction&quot;:&quot;horizontal&quot;,&quot;support_features&quot;:[&quot;collage&quot;],&quot;support_big_font&quot;:false,&quot;picture_toward&quot;:0,&quot;picture_dockside&quot;:[],&quot;fill_id&quot;:&quot;e836bed5e59843b5bc0179a1591ebf37&quot;,&quot;fill_align&quot;:&quot;rm&quot;,&quot;chip_types&quot;:[&quot;diagram&quot;,&quot;pictext&quot;,&quot;text&quot;,&quot;picture&quot;,&quot;chart&quot;,&quot;table&quot;,&quot;video&quot;]}],[{&quot;text_align&quot;:&quot;lb&quot;,&quot;text_direction&quot;:&quot;horizontal&quot;,&quot;support_big_font&quot;:false,&quot;picture_toward&quot;:0,&quot;picture_dockside&quot;:[],&quot;fill_id&quot;:&quot;722accd572074b41a2d4cf8c733c9957&quot;,&quot;fill_align&quot;:&quot;lb&quot;,&quot;chip_types&quot;:[&quot;text&quot;,&quot;header&quot;]},{&quot;text_align&quot;:&quot;lt&quot;,&quot;text_direction&quot;:&quot;horizontal&quot;,&quot;support_features&quot;:[&quot;collage&quot;],&quot;support_big_font&quot;:false,&quot;picture_toward&quot;:0,&quot;picture_dockside&quot;:[],&quot;fill_id&quot;:&quot;164c300f690d423ab1b6e3b65edb0bf9&quot;,&quot;fill_align&quot;:&quot;lt&quot;,&quot;chip_types&quot;:[&quot;picture&quot;]},{&quot;text_align&quot;:&quot;lm&quot;,&quot;text_direction&quot;:&quot;horizontal&quot;,&quot;support_features&quot;:[&quot;collage&quot;],&quot;support_big_font&quot;:false,&quot;picture_toward&quot;:0,&quot;picture_dockside&quot;:[],&quot;fill_id&quot;:&quot;e836bed5e59843b5bc0179a1591ebf37&quot;,&quot;fill_align&quot;:&quot;rm&quot;,&quot;chip_types&quot;:[&quot;pictext&quot;,&quot;picture&quot;,&quot;chart&quot;,&quot;table&quot;,&quot;video&quot;]}]]"/>
  <p:tag name="KSO_WM_SLIDE_ID" val="diagram20213015_1"/>
  <p:tag name="KSO_WM_TEMPLATE_SUBCATEGORY" val="21"/>
  <p:tag name="KSO_WM_TEMPLATE_MASTER_TYPE" val="0"/>
  <p:tag name="KSO_WM_TEMPLATE_COLOR_TYPE" val="1"/>
  <p:tag name="KSO_WM_SLIDE_ITEM_CNT" val="0"/>
  <p:tag name="KSO_WM_SLIDE_INDEX" val="1"/>
  <p:tag name="KSO_WM_TAG_VERSION" val="1.0"/>
  <p:tag name="KSO_WM_SLIDE_LAYOUT" val="a_b_d_f"/>
  <p:tag name="KSO_WM_SLIDE_LAYOUT_CNT" val="1_1_1_1"/>
  <p:tag name="KSO_WM_SLIDE_TYPE" val="text"/>
  <p:tag name="KSO_WM_SLIDE_SUBTYPE" val="picTxt"/>
  <p:tag name="KSO_WM_SLIDE_SIZE" val="864*444"/>
  <p:tag name="KSO_WM_SLIDE_POSITION" val="48*48"/>
  <p:tag name="KSO_WM_CHIP_DECFILLPROP" val="[]"/>
  <p:tag name="KSO_WM_SLIDE_CAN_ADD_NAVIGATION" val="1"/>
  <p:tag name="KSO_WM_CHIP_GROUPID" val="5ed8b357afe44fab1839c14c"/>
  <p:tag name="KSO_WM_SLIDE_BK_DARK_LIGHT" val="2"/>
  <p:tag name="KSO_WM_SLIDE_BACKGROUND_TYPE" val="frame"/>
  <p:tag name="KSO_WM_SLIDE_SUPPORT_FEATURE_TYPE" val="1"/>
  <p:tag name="KSO_WM_TEMPLATE_ASSEMBLE_XID" val="60656f234054ed1e2fb8041a"/>
  <p:tag name="KSO_WM_TEMPLATE_ASSEMBLE_GROUPID" val="60656f234054ed1e2fb8041a"/>
</p:tagLst>
</file>

<file path=ppt/tags/tag11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213015_1*i*1"/>
  <p:tag name="KSO_WM_UNIT_LAYERLEVEL" val="1"/>
  <p:tag name="KSO_WM_TAG_VERSION" val="1.0"/>
  <p:tag name="KSO_WM_BEAUTIFY_FLAG" val="#wm#"/>
  <p:tag name="KSO_WM_UNIT_SUBTYPE" val="h"/>
  <p:tag name="KSO_WM_SLIDE_BACKGROUND_TYPE" val="frame"/>
  <p:tag name="KSO_WM_SLIDE_BK_DARK_LIGHT" val="2"/>
  <p:tag name="KSO_WM_UNIT_BK_DARK_LIGHT" val="2"/>
  <p:tag name="KSO_WM_UNIT_FILL_FORE_SCHEMECOLOR_INDEX_BRIGHTNESS" val="0"/>
  <p:tag name="KSO_WM_UNIT_FILL_FORE_SCHEMECOLOR_INDEX" val="16"/>
  <p:tag name="KSO_WM_UNIT_FILL_TYPE" val="1"/>
  <p:tag name="KSO_WM_UNIT_TEXT_FILL_FORE_SCHEMECOLOR_INDEX_BRIGHTNESS" val="0"/>
  <p:tag name="KSO_WM_UNIT_TEXT_FILL_FORE_SCHEMECOLOR_INDEX" val="2"/>
  <p:tag name="KSO_WM_UNIT_TEXT_FILL_TYPE" val="1"/>
  <p:tag name="KSO_WM_TEMPLATE_CATEGORY" val="diagram"/>
  <p:tag name="KSO_WM_TEMPLATE_INDEX" val="20213015"/>
  <p:tag name="KSO_WM_UNIT_VALUE" val="1150"/>
  <p:tag name="KSO_WM_TEMPLATE_ASSEMBLE_XID" val="60656f234054ed1e2fb8041a"/>
  <p:tag name="KSO_WM_TEMPLATE_ASSEMBLE_GROUPID" val="60656f234054ed1e2fb8041a"/>
</p:tagLst>
</file>

<file path=ppt/tags/tag113.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PRESET_TEXT" val="单击此处添加大标题内容"/>
  <p:tag name="KSO_WM_UNIT_NOCLEAR" val="0"/>
  <p:tag name="KSO_WM_UNIT_SHOW_EDIT_AREA_INDICATION" val="1"/>
  <p:tag name="KSO_WM_UNIT_VALUE" val="20"/>
  <p:tag name="KSO_WM_UNIT_HIGHLIGHT" val="0"/>
  <p:tag name="KSO_WM_UNIT_COMPATIBLE" val="0"/>
  <p:tag name="KSO_WM_UNIT_DIAGRAM_ISNUMVISUAL" val="0"/>
  <p:tag name="KSO_WM_UNIT_DIAGRAM_ISREFERUNIT" val="0"/>
  <p:tag name="KSO_WM_UNIT_TYPE" val="a"/>
  <p:tag name="KSO_WM_UNIT_INDEX" val="1"/>
  <p:tag name="KSO_WM_UNIT_ID" val="diagram20213015_1*a*1"/>
  <p:tag name="KSO_WM_TEMPLATE_CATEGORY" val="diagram"/>
  <p:tag name="KSO_WM_TEMPLATE_INDEX" val="20213015"/>
  <p:tag name="KSO_WM_UNIT_LAYERLEVEL" val="1"/>
  <p:tag name="KSO_WM_TAG_VERSION" val="1.0"/>
  <p:tag name="KSO_WM_BEAUTIFY_FLAG" val="#wm#"/>
  <p:tag name="KSO_WM_CHIP_GROUPID" val="5f461bcef3f92eac738049c8"/>
  <p:tag name="KSO_WM_CHIP_XID" val="5f461bcef3f92eac738049c9"/>
  <p:tag name="KSO_WM_UNIT_DEC_AREA_ID" val="c9ae618eedb44c9bad0e3aea86df25f2"/>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b&quot;,&quot;fill_mode&quot;:&quot;full&quot;,&quot;sacle_strategy&quot;:&quot;smart&quot;}"/>
  <p:tag name="KSO_WM_ASSEMBLE_CHIP_INDEX" val="23f299125a99461eb9d9bafe2fa26801"/>
  <p:tag name="KSO_WM_UNIT_TEXT_FILL_FORE_SCHEMECOLOR_INDEX_BRIGHTNESS" val="0"/>
  <p:tag name="KSO_WM_UNIT_TEXT_FILL_FORE_SCHEMECOLOR_INDEX" val="13"/>
  <p:tag name="KSO_WM_UNIT_TEXT_FILL_TYPE" val="1"/>
  <p:tag name="KSO_WM_TEMPLATE_ASSEMBLE_XID" val="60656f234054ed1e2fb8041a"/>
  <p:tag name="KSO_WM_TEMPLATE_ASSEMBLE_GROUPID" val="60656f234054ed1e2fb8041a"/>
</p:tagLst>
</file>

<file path=ppt/tags/tag114.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PRESET_TEXT" val="单击此处可添加副标题"/>
  <p:tag name="KSO_WM_UNIT_NOCLEAR" val="0"/>
  <p:tag name="KSO_WM_UNIT_SHOW_EDIT_AREA_INDICATION" val="1"/>
  <p:tag name="KSO_WM_UNIT_VALUE" val="21"/>
  <p:tag name="KSO_WM_UNIT_HIGHLIGHT" val="0"/>
  <p:tag name="KSO_WM_UNIT_COMPATIBLE" val="0"/>
  <p:tag name="KSO_WM_UNIT_DIAGRAM_ISNUMVISUAL" val="0"/>
  <p:tag name="KSO_WM_UNIT_DIAGRAM_ISREFERUNIT" val="0"/>
  <p:tag name="KSO_WM_UNIT_TYPE" val="b"/>
  <p:tag name="KSO_WM_UNIT_INDEX" val="1"/>
  <p:tag name="KSO_WM_UNIT_ID" val="diagram20213015_1*b*1"/>
  <p:tag name="KSO_WM_TEMPLATE_CATEGORY" val="diagram"/>
  <p:tag name="KSO_WM_TEMPLATE_INDEX" val="20213015"/>
  <p:tag name="KSO_WM_UNIT_LAYERLEVEL" val="1"/>
  <p:tag name="KSO_WM_TAG_VERSION" val="1.0"/>
  <p:tag name="KSO_WM_BEAUTIFY_FLAG" val="#wm#"/>
  <p:tag name="KSO_WM_CHIP_GROUPID" val="5f461bcef3f92eac738049c8"/>
  <p:tag name="KSO_WM_CHIP_XID" val="5f461bcef3f92eac738049c9"/>
  <p:tag name="KSO_WM_UNIT_DEC_AREA_ID" val="3255c07392484f04babbc9084c32971b"/>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b&quot;,&quot;fill_mode&quot;:&quot;full&quot;,&quot;sacle_strategy&quot;:&quot;smart&quot;}"/>
  <p:tag name="KSO_WM_ASSEMBLE_CHIP_INDEX" val="23f299125a99461eb9d9bafe2fa26801"/>
  <p:tag name="KSO_WM_UNIT_TEXT_FILL_FORE_SCHEMECOLOR_INDEX_BRIGHTNESS" val="-0.5"/>
  <p:tag name="KSO_WM_UNIT_TEXT_FILL_FORE_SCHEMECOLOR_INDEX" val="14"/>
  <p:tag name="KSO_WM_UNIT_TEXT_FILL_TYPE" val="1"/>
  <p:tag name="KSO_WM_TEMPLATE_ASSEMBLE_XID" val="60656f234054ed1e2fb8041a"/>
  <p:tag name="KSO_WM_TEMPLATE_ASSEMBLE_GROUPID" val="60656f234054ed1e2fb8041a"/>
</p:tagLst>
</file>

<file path=ppt/tags/tag115.xml><?xml version="1.0" encoding="utf-8"?>
<p:tagLst xmlns:a="http://schemas.openxmlformats.org/drawingml/2006/main" xmlns:r="http://schemas.openxmlformats.org/officeDocument/2006/relationships" xmlns:p="http://schemas.openxmlformats.org/presentationml/2006/main">
  <p:tag name="KSO_WM_UNIT_TEXT_SUBTYPE" val="a"/>
  <p:tag name="KSO_WM_UNIT_SUBTYPE" val="a"/>
  <p:tag name="KSO_WM_UNIT_PRESET_TEXT" val="单击此处添加正文，文字是您思想的提炼，为了演示发布的良好效果，请言简意赅的阐述您的观点。您的内容已经简明扼要，字字珠玑，但信息却千丝万缕、错综复杂，需要用更多的文字来表述；但请您尽可能提炼思想的精髓，否则容易造成观者的阅读压力，适得其反。正如我们都希望改变世界，希望给别人带去光明，但更多时候我们只需要播下一颗种子，自然有微风吹拂，雨露滋养。恰如其分的表达观点，往往事半功倍。当您的内容到达这个限度时，或许已经不纯粹作用于演示，极大可能运用于阅读领域；无论是传播观点、知识分享还是汇报工作，内容的详尽固然重要，但请一定注意信息框架的清晰，这样才能使内容层次分明，页面简洁易读。"/>
  <p:tag name="KSO_WM_UNIT_NOCLEAR" val="0"/>
  <p:tag name="KSO_WM_UNIT_HIGHLIGHT" val="0"/>
  <p:tag name="KSO_WM_UNIT_COMPATIBLE" val="0"/>
  <p:tag name="KSO_WM_UNIT_DIAGRAM_ISNUMVISUAL" val="0"/>
  <p:tag name="KSO_WM_UNIT_DIAGRAM_ISREFERUNIT" val="0"/>
  <p:tag name="KSO_WM_UNIT_TYPE" val="f"/>
  <p:tag name="KSO_WM_UNIT_INDEX" val="1"/>
  <p:tag name="KSO_WM_UNIT_ID" val="diagram20213015_1*f*1"/>
  <p:tag name="KSO_WM_TEMPLATE_CATEGORY" val="diagram"/>
  <p:tag name="KSO_WM_TEMPLATE_INDEX" val="20213015"/>
  <p:tag name="KSO_WM_UNIT_LAYERLEVEL" val="1"/>
  <p:tag name="KSO_WM_TAG_VERSION" val="1.0"/>
  <p:tag name="KSO_WM_BEAUTIFY_FLAG" val="#wm#"/>
  <p:tag name="KSO_WM_UNIT_DEFAULT_FONT" val="14;20;2"/>
  <p:tag name="KSO_WM_UNIT_BLOCK" val="0"/>
  <p:tag name="KSO_WM_UNIT_VALUE" val="315"/>
  <p:tag name="KSO_WM_UNIT_SHOW_EDIT_AREA_INDICATION" val="1"/>
  <p:tag name="KSO_WM_CHIP_GROUPID" val="5e6b05596848fb12bee65ac8"/>
  <p:tag name="KSO_WM_CHIP_XID" val="5e6b05596848fb12bee65aca"/>
  <p:tag name="KSO_WM_UNIT_DEC_AREA_ID" val="389145433bb24ba3b1fb035ae64617ee"/>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rm&quot;,&quot;fill_mode&quot;:&quot;full&quot;,&quot;sacle_strategy&quot;:&quot;smart&quot;}"/>
  <p:tag name="KSO_WM_ASSEMBLE_CHIP_INDEX" val="9cfa6d7d49cd47cf8f4f267a3caf71df"/>
  <p:tag name="KSO_WM_UNIT_SUPPORT_UNIT_TYPE" val="[&quot;l&quot;,&quot;m&quot;,&quot;n&quot;,&quot;o&quot;,&quot;p&quot;,&quot;q&quot;,&quot;r&quot;,&quot;δ&quot;,&quot;ε&quot;,&quot;ζ&quot;,&quot;η&quot;,&quot;d&quot;,&quot;α&quot;,&quot;β&quot;,&quot;θ&quot;]"/>
  <p:tag name="KSO_WM_UNIT_TEXT_FILL_FORE_SCHEMECOLOR_INDEX_BRIGHTNESS" val="0.25"/>
  <p:tag name="KSO_WM_UNIT_TEXT_FILL_FORE_SCHEMECOLOR_INDEX" val="13"/>
  <p:tag name="KSO_WM_UNIT_TEXT_FILL_TYPE" val="1"/>
  <p:tag name="KSO_WM_TEMPLATE_ASSEMBLE_XID" val="60656f234054ed1e2fb8041a"/>
  <p:tag name="KSO_WM_TEMPLATE_ASSEMBLE_GROUPID" val="60656f234054ed1e2fb8041a"/>
</p:tagLst>
</file>

<file path=ppt/tags/tag116.xml><?xml version="1.0" encoding="utf-8"?>
<p:tagLst xmlns:a="http://schemas.openxmlformats.org/drawingml/2006/main" xmlns:r="http://schemas.openxmlformats.org/officeDocument/2006/relationships" xmlns:p="http://schemas.openxmlformats.org/presentationml/2006/main">
  <p:tag name="ISLIDE.THEME" val="https://www.islide.cc;"/>
  <p:tag name="KSO_WM_SLIDE_LAYOUT_INFO" val="{&quot;backgroundInfo&quot;:[{&quot;bottom&quot;:0,&quot;bottomAbs&quot;:false,&quot;left&quot;:0,&quot;leftAbs&quot;:false,&quot;right&quot;:0,&quot;rightAbs&quot;:false,&quot;top&quot;:0,&quot;topAbs&quot;:false,&quot;type&quot;:&quot;general&quot;}],&quot;id&quot;:&quot;2021-04-01T15:19:08&quot;,&quot;maxSize&quot;:{&quot;size1&quot;:31.1},&quot;minSize&quot;:{&quot;size1&quot;:22.4},&quot;normalSize&quot;:{&quot;size1&quot;:22.4},&quot;subLayout&quot;:[{&quot;id&quot;:&quot;2021-04-01T15:19:08&quot;,&quot;margin&quot;:{&quot;bottom&quot;:0.4230000674724579,&quot;left&quot;:1.6929999589920044,&quot;right&quot;:1.6929999589920044,&quot;top&quot;:1.6929999589920044},&quot;type&quot;:0},{&quot;direction&quot;:1,&quot;id&quot;:&quot;2021-04-01T15:19:08&quot;,&quot;maxSize&quot;:{&quot;size1&quot;:67.3996061300044},&quot;minSize&quot;:{&quot;size1&quot;:57.499606130004395},&quot;normalSize&quot;:{&quot;size1&quot;:65.6808561300044},&quot;subLayout&quot;:[{&quot;id&quot;:&quot;2021-04-01T15:19:08&quot;,&quot;margin&quot;:{&quot;bottom&quot;:2.117000102996826,&quot;left&quot;:1.6929999589920044,&quot;right&quot;:0.8199999928474426,&quot;top&quot;:0.847000002861023},&quot;type&quot;:0},{&quot;id&quot;:&quot;2021-04-01T15:19:08&quot;,&quot;margin&quot;:{&quot;bottom&quot;:2.117000102996826,&quot;left&quot;:0.02600000612437725,&quot;right&quot;:1.6929999589920044,&quot;top&quot;:0.847000002861023},&quot;type&quot;:0}],&quot;type&quot;:0}],&quot;type&quot;:0}"/>
  <p:tag name="KSO_WM_CHIP_INFOS" val="{&quot;type&quot;:0,&quot;layout_type&quot;:&quot;leftright&quot;,&quot;layout_feature&quot;:1,&quot;aspect_ratio&quot;:&quot;16:9&quot;,&quot;same_font_size&quot;:false,&quot;diagram&quot;:{&quot;type&quot;:[],&quot;direction&quot;:0,&quot;isSupportDecBetweenItems&quot;:false},&quot;tags&quot;:{&quot;style&quot;:[&quot;商务&quot;,&quot;简约&quot;,&quot;文艺清新&quot;,&quot;中国风&quot;,&quot;卡通&quot;,&quot;欧美风&quot;,&quot;黑板风&quot;,&quot;渐变风&quot;,&quot;党政风&quot;]},&quot;slide_type&quot;:[&quot;text&quot;]}"/>
  <p:tag name="KSO_WM_CHIP_XID" val="5f69641e553136823a5e61a6"/>
  <p:tag name="KSO_WM_CHIP_FILLPROP" val="[[{&quot;text_align&quot;:&quot;lt&quot;,&quot;text_direction&quot;:&quot;horizontal&quot;,&quot;support_big_font&quot;:false,&quot;fill_id&quot;:&quot;7d33e90635ee4b6b8e5f3e0ba1b35692&quot;,&quot;fill_align&quot;:&quot;lt&quot;,&quot;chip_types&quot;:[&quot;header&quot;]},{&quot;text_align&quot;:&quot;lm&quot;,&quot;text_direction&quot;:&quot;horizontal&quot;,&quot;support_features&quot;:[&quot;collage&quot;,&quot;carousel&quot;],&quot;support_big_font&quot;:false,&quot;fill_id&quot;:&quot;b159cc300ece44ccae59493c64cefcc4&quot;,&quot;fill_align&quot;:&quot;lm&quot;,&quot;chip_types&quot;:[&quot;diagram&quot;,&quot;pictext&quot;,&quot;text&quot;,&quot;picture&quot;,&quot;chart&quot;,&quot;table&quot;]},{&quot;text_align&quot;:&quot;lm&quot;,&quot;text_direction&quot;:&quot;horizontal&quot;,&quot;support_features&quot;:[&quot;collage&quot;],&quot;support_big_font&quot;:false,&quot;fill_id&quot;:&quot;ec600d427c11418384a56b8c0fde571c&quot;,&quot;fill_align&quot;:&quot;lm&quot;,&quot;chip_types&quot;:[&quot;picture&quot;,&quot;chart&quot;,&quot;table&quot;]}],[{&quot;text_align&quot;:&quot;lt&quot;,&quot;text_direction&quot;:&quot;horizontal&quot;,&quot;support_big_font&quot;:false,&quot;fill_id&quot;:&quot;7d33e90635ee4b6b8e5f3e0ba1b35692&quot;,&quot;fill_align&quot;:&quot;lt&quot;,&quot;chip_types&quot;:[&quot;header&quot;]},{&quot;text_align&quot;:&quot;lm&quot;,&quot;text_direction&quot;:&quot;horizontal&quot;,&quot;support_features&quot;:[&quot;collage&quot;,&quot;carousel&quot;],&quot;support_big_font&quot;:false,&quot;fill_id&quot;:&quot;b159cc300ece44ccae59493c64cefcc4&quot;,&quot;fill_align&quot;:&quot;lm&quot;,&quot;chip_types&quot;:[&quot;diagram&quot;,&quot;pictext&quot;,&quot;picture&quot;,&quot;chart&quot;,&quot;table&quot;]},{&quot;text_align&quot;:&quot;lm&quot;,&quot;text_direction&quot;:&quot;horizontal&quot;,&quot;support_big_font&quot;:false,&quot;fill_id&quot;:&quot;ec600d427c11418384a56b8c0fde571c&quot;,&quot;fill_align&quot;:&quot;lm&quot;,&quot;chip_types&quot;:[&quot;text&quot;]}]]"/>
  <p:tag name="KSO_WM_SLIDE_ID" val="diagram20213433_1"/>
  <p:tag name="KSO_WM_TEMPLATE_SUBCATEGORY" val="21"/>
  <p:tag name="KSO_WM_TEMPLATE_MASTER_TYPE" val="0"/>
  <p:tag name="KSO_WM_TEMPLATE_COLOR_TYPE" val="1"/>
  <p:tag name="KSO_WM_SLIDE_TYPE" val="text"/>
  <p:tag name="KSO_WM_SLIDE_SUBTYPE" val="picTxt"/>
  <p:tag name="KSO_WM_SLIDE_ITEM_CNT" val="0"/>
  <p:tag name="KSO_WM_SLIDE_INDEX" val="1"/>
  <p:tag name="KSO_WM_SLIDE_SIZE" val="864*384"/>
  <p:tag name="KSO_WM_SLIDE_POSITION" val="48*48"/>
  <p:tag name="KSO_WM_TAG_VERSION" val="1.0"/>
  <p:tag name="KSO_WM_BEAUTIFY_FLAG" val="#wm#"/>
  <p:tag name="KSO_WM_TEMPLATE_CATEGORY" val="diagram"/>
  <p:tag name="KSO_WM_TEMPLATE_INDEX" val="20213433"/>
  <p:tag name="KSO_WM_SLIDE_LAYOUT" val="a_d_f"/>
  <p:tag name="KSO_WM_SLIDE_LAYOUT_CNT" val="1_1_1"/>
  <p:tag name="KSO_WM_SLIDE_CAN_ADD_NAVIGATION" val="1"/>
  <p:tag name="KSO_WM_SLIDE_BACKGROUND" val="[&quot;general&quot;]"/>
  <p:tag name="KSO_WM_SLIDE_RATIO" val="1.777778"/>
  <p:tag name="FIXED_XID_TMP" val="5f5ee1ca4d6848d78f644aec"/>
  <p:tag name="KSO_WM_CHIP_DECFILLPROP" val="[]"/>
  <p:tag name="KSO_WM_CHIP_GROUPID" val="5f5ee1ca4d6848d78f644aec"/>
  <p:tag name="KSO_WM_SLIDE_BK_DARK_LIGHT" val="2"/>
  <p:tag name="KSO_WM_SLIDE_BACKGROUND_TYPE" val="general"/>
  <p:tag name="KSO_WM_SLIDE_SUPPORT_FEATURE_TYPE" val="3"/>
  <p:tag name="KSO_WM_TEMPLATE_ASSEMBLE_XID" val="60656ecf4054ed1e2fb80010"/>
  <p:tag name="KSO_WM_TEMPLATE_ASSEMBLE_GROUPID" val="60656ecf4054ed1e2fb80010"/>
</p:tagLst>
</file>

<file path=ppt/tags/tag117.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24"/>
  <p:tag name="KSO_WM_UNIT_HIGHLIGHT" val="0"/>
  <p:tag name="KSO_WM_UNIT_COMPATIBLE" val="0"/>
  <p:tag name="KSO_WM_UNIT_DIAGRAM_ISNUMVISUAL" val="0"/>
  <p:tag name="KSO_WM_UNIT_DIAGRAM_ISREFERUNIT" val="0"/>
  <p:tag name="KSO_WM_UNIT_TYPE" val="a"/>
  <p:tag name="KSO_WM_UNIT_INDEX" val="1"/>
  <p:tag name="KSO_WM_UNIT_ID" val="diagram20213433_1*a*1"/>
  <p:tag name="KSO_WM_TEMPLATE_CATEGORY" val="diagram"/>
  <p:tag name="KSO_WM_TEMPLATE_INDEX" val="20213433"/>
  <p:tag name="KSO_WM_UNIT_LAYERLEVEL" val="1"/>
  <p:tag name="KSO_WM_TAG_VERSION" val="1.0"/>
  <p:tag name="KSO_WM_BEAUTIFY_FLAG" val="#wm#"/>
  <p:tag name="KSO_WM_UNIT_PRESET_TEXT" val="单击此处添加大标题内容"/>
  <p:tag name="KSO_WM_UNIT_DEFAULT_FONT" val="24;44;4"/>
  <p:tag name="KSO_WM_UNIT_BLOCK" val="0"/>
  <p:tag name="KSO_WM_UNIT_SHOW_EDIT_AREA_INDICATION" val="1"/>
  <p:tag name="KSO_WM_CHIP_GROUPID" val="5e7881253197e252a37019b5"/>
  <p:tag name="KSO_WM_CHIP_XID" val="5e7881253197e252a37019b6"/>
  <p:tag name="KSO_WM_UNIT_DEC_AREA_ID" val="8963e6497bc84891a8f4bf80e9f4b43b"/>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t&quot;,&quot;fill_mode&quot;:&quot;full&quot;,&quot;sacle_strategy&quot;:&quot;smart&quot;}"/>
  <p:tag name="KSO_WM_ASSEMBLE_CHIP_INDEX" val="a9af8654b1824e1d913d01bb37ce3d84"/>
  <p:tag name="KSO_WM_UNIT_TEXT_FILL_FORE_SCHEMECOLOR_INDEX_BRIGHTNESS" val="0"/>
  <p:tag name="KSO_WM_UNIT_TEXT_FILL_FORE_SCHEMECOLOR_INDEX" val="13"/>
  <p:tag name="KSO_WM_UNIT_TEXT_FILL_TYPE" val="1"/>
  <p:tag name="KSO_WM_TEMPLATE_ASSEMBLE_XID" val="60656ecf4054ed1e2fb80010"/>
  <p:tag name="KSO_WM_TEMPLATE_ASSEMBLE_GROUPID" val="60656ecf4054ed1e2fb80010"/>
</p:tagLst>
</file>

<file path=ppt/tags/tag118.xml><?xml version="1.0" encoding="utf-8"?>
<p:tagLst xmlns:a="http://schemas.openxmlformats.org/drawingml/2006/main" xmlns:r="http://schemas.openxmlformats.org/officeDocument/2006/relationships" xmlns:p="http://schemas.openxmlformats.org/presentationml/2006/main">
  <p:tag name="KSO_WM_UNIT_TEXT_SUBTYPE" val="a"/>
  <p:tag name="KSO_WM_UNIT_SUBTYPE" val="a"/>
  <p:tag name="KSO_WM_UNIT_PRESET_TEXT" val="单击此处添加正文，文字是您思想的提炼，为了演示发布的良好效果，请言简意赅的阐述您的观点。您的内容已经简明扼要，字字珠玑，但信息却千丝万缕、错综复杂，需要用更多的文字来表述；但请您尽可能提炼思想的精髓。"/>
  <p:tag name="KSO_WM_UNIT_NOCLEAR" val="0"/>
  <p:tag name="KSO_WM_UNIT_HIGHLIGHT" val="0"/>
  <p:tag name="KSO_WM_UNIT_COMPATIBLE" val="0"/>
  <p:tag name="KSO_WM_UNIT_DIAGRAM_ISNUMVISUAL" val="0"/>
  <p:tag name="KSO_WM_UNIT_DIAGRAM_ISREFERUNIT" val="0"/>
  <p:tag name="KSO_WM_UNIT_TYPE" val="f"/>
  <p:tag name="KSO_WM_UNIT_INDEX" val="1"/>
  <p:tag name="KSO_WM_UNIT_ID" val="diagram20213433_1*f*1"/>
  <p:tag name="KSO_WM_TEMPLATE_CATEGORY" val="diagram"/>
  <p:tag name="KSO_WM_TEMPLATE_INDEX" val="20213433"/>
  <p:tag name="KSO_WM_UNIT_LAYERLEVEL" val="1"/>
  <p:tag name="KSO_WM_TAG_VERSION" val="1.0"/>
  <p:tag name="KSO_WM_BEAUTIFY_FLAG" val="#wm#"/>
  <p:tag name="KSO_WM_UNIT_DEFAULT_FONT" val="14;20;2"/>
  <p:tag name="KSO_WM_UNIT_BLOCK" val="0"/>
  <p:tag name="KSO_WM_UNIT_VALUE" val="130"/>
  <p:tag name="KSO_WM_UNIT_SHOW_EDIT_AREA_INDICATION" val="1"/>
  <p:tag name="KSO_WM_CHIP_GROUPID" val="5e6b05596848fb12bee65ac8"/>
  <p:tag name="KSO_WM_CHIP_XID" val="5e6b05596848fb12bee65aca"/>
  <p:tag name="KSO_WM_UNIT_DEC_AREA_ID" val="453078194bd645688b7a93f5fd0b338b"/>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m&quot;,&quot;fill_mode&quot;:&quot;full&quot;,&quot;sacle_strategy&quot;:&quot;smart&quot;}"/>
  <p:tag name="KSO_WM_ASSEMBLE_CHIP_INDEX" val="76c8714f05fb453caa79cc066372c573"/>
  <p:tag name="KSO_WM_UNIT_TEXT_FILL_FORE_SCHEMECOLOR_INDEX_BRIGHTNESS" val="0.25"/>
  <p:tag name="KSO_WM_UNIT_TEXT_FILL_FORE_SCHEMECOLOR_INDEX" val="13"/>
  <p:tag name="KSO_WM_UNIT_TEXT_FILL_TYPE" val="1"/>
  <p:tag name="KSO_WM_TEMPLATE_ASSEMBLE_XID" val="60656ecf4054ed1e2fb80010"/>
  <p:tag name="KSO_WM_TEMPLATE_ASSEMBLE_GROUPID" val="60656ecf4054ed1e2fb80010"/>
</p:tagLst>
</file>

<file path=ppt/tags/tag11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4_1"/>
  <p:tag name="KSO_WM_UNIT_ID" val="diagram20218393_5*l_h_i*1_4_1"/>
  <p:tag name="KSO_WM_TEMPLATE_CATEGORY" val="diagram"/>
  <p:tag name="KSO_WM_TEMPLATE_INDEX" val="20218393"/>
  <p:tag name="KSO_WM_UNIT_LAYERLEVEL" val="1_1_1"/>
  <p:tag name="KSO_WM_TAG_VERSION" val="1.0"/>
  <p:tag name="KSO_WM_BEAUTIFY_FLAG" val="#wm#"/>
  <p:tag name="KSO_WM_UNIT_FILL_FORE_SCHEMECOLOR_INDEX_BRIGHTNESS" val="0"/>
  <p:tag name="KSO_WM_UNIT_FILL_FORE_SCHEMECOLOR_INDEX" val="8"/>
  <p:tag name="KSO_WM_UNIT_FILL_TYPE" val="1"/>
  <p:tag name="KSO_WM_UNIT_TEXT_FILL_FORE_SCHEMECOLOR_INDEX_BRIGHTNESS" val="0"/>
  <p:tag name="KSO_WM_UNIT_TEXT_FILL_FORE_SCHEMECOLOR_INDEX" val="2"/>
  <p:tag name="KSO_WM_UNIT_TEXT_FILL_TYPE" val="1"/>
  <p:tag name="KSO_WM_UNIT_USESOURCEFORMAT_APPLY" val="1"/>
</p:tagLst>
</file>

<file path=ppt/tags/tag120.xml><?xml version="1.0" encoding="utf-8"?>
<p:tagLst xmlns:a="http://schemas.openxmlformats.org/drawingml/2006/main" xmlns:r="http://schemas.openxmlformats.org/officeDocument/2006/relationships" xmlns:p="http://schemas.openxmlformats.org/presentationml/2006/main">
  <p:tag name="ISLIDE.THEME" val="https://www.islide.cc;"/>
  <p:tag name="KSO_WM_SLIDE_ID" val="diagram20215180_1"/>
  <p:tag name="KSO_WM_TEMPLATE_SUBCATEGORY" val="21"/>
  <p:tag name="KSO_WM_TEMPLATE_MASTER_TYPE" val="0"/>
  <p:tag name="KSO_WM_TEMPLATE_COLOR_TYPE" val="1"/>
  <p:tag name="KSO_WM_SLIDE_TYPE" val="text"/>
  <p:tag name="KSO_WM_SLIDE_SUBTYPE" val="picTxt"/>
  <p:tag name="KSO_WM_SLIDE_ITEM_CNT" val="0"/>
  <p:tag name="KSO_WM_SLIDE_INDEX" val="1"/>
  <p:tag name="KSO_WM_SLIDE_SIZE" val="888*492"/>
  <p:tag name="KSO_WM_SLIDE_POSITION" val="36*24"/>
  <p:tag name="KSO_WM_TAG_VERSION" val="1.0"/>
  <p:tag name="KSO_WM_BEAUTIFY_FLAG" val="#wm#"/>
  <p:tag name="KSO_WM_TEMPLATE_CATEGORY" val="diagram"/>
  <p:tag name="KSO_WM_TEMPLATE_INDEX" val="20215180"/>
  <p:tag name="KSO_WM_SLIDE_LAYOUT" val="a_d_f"/>
  <p:tag name="KSO_WM_SLIDE_LAYOUT_CNT" val="1_2_1"/>
  <p:tag name="KSO_WM_SLIDE_LAYOUT_INFO" val="{&quot;backgroundInfo&quot;:[{&quot;bottom&quot;:0,&quot;bottomAbs&quot;:false,&quot;left&quot;:0,&quot;leftAbs&quot;:false,&quot;right&quot;:0,&quot;rightAbs&quot;:false,&quot;top&quot;:0,&quot;topAbs&quot;:false,&quot;type&quot;:&quot;general&quot;}],&quot;id&quot;:&quot;2021-04-01T15:57:46&quot;,&quot;maxSize&quot;:{&quot;size1&quot;:15.7},&quot;minSize&quot;:{&quot;size1&quot;:15.7},&quot;normalSize&quot;:{&quot;size1&quot;:15.7},&quot;subLayout&quot;:[{&quot;id&quot;:&quot;2021-04-01T15:57:46&quot;,&quot;margin&quot;:{&quot;bottom&quot;:0.02600000612437725,&quot;left&quot;:1.2699999809265137,&quot;right&quot;:1.2699999809265137,&quot;top&quot;:0.847000002861023},&quot;type&quot;:0},{&quot;direction&quot;:1,&quot;id&quot;:&quot;2021-04-01T15:57:46&quot;,&quot;maxSize&quot;:{&quot;size1&quot;:58.69964731334027},&quot;minSize&quot;:{&quot;size1&quot;:42.49964731334027},&quot;normalSize&quot;:{&quot;size1&quot;:42.49975148000694},&quot;subLayout&quot;:[{&quot;id&quot;:&quot;2021-04-01T15:57:46&quot;,&quot;margin&quot;:{&quot;bottom&quot;:0.847000002861023,&quot;left&quot;:1.2699999809265137,&quot;right&quot;:0.8199999928474426,&quot;top&quot;:0.8199999928474426},&quot;type&quot;:0},{&quot;id&quot;:&quot;2021-04-01T15:57:46&quot;,&quot;maxSize&quot;:{&quot;size1&quot;:47.4},&quot;minSize&quot;:{&quot;size1&quot;:47.4},&quot;normalSize&quot;:{&quot;size1&quot;:47.4},&quot;subLayout&quot;:[{&quot;id&quot;:&quot;2021-04-01T15:57:46&quot;,&quot;margin&quot;:{&quot;bottom&quot;:0.02600000612437725,&quot;left&quot;:0.02600000612437725,&quot;right&quot;:1.2699999809265137,&quot;top&quot;:0.8199999928474426},&quot;type&quot;:0},{&quot;id&quot;:&quot;2021-04-01T15:57:46&quot;,&quot;margin&quot;:{&quot;bottom&quot;:0.847000002861023,&quot;left&quot;:0.02600000612437725,&quot;right&quot;:1.2699999809265137,&quot;top&quot;:0.8199999928474426},&quot;type&quot;:0}],&quot;type&quot;:0}],&quot;type&quot;:0}],&quot;type&quot;:0}"/>
  <p:tag name="KSO_WM_SLIDE_BACKGROUND" val="[&quot;general&quot;]"/>
  <p:tag name="KSO_WM_SLIDE_RATIO" val="1.777778"/>
  <p:tag name="KSO_WM_CHIP_INFOS" val="{&quot;type&quot;:0,&quot;layout_type&quot;:&quot;topbottom&quot;,&quot;layout_feature&quot;:1,&quot;aspect_ratio&quot;:&quot;16:9&quot;,&quot;same_font_size&quot;:false,&quot;diagram&quot;:{&quot;type&quot;:[],&quot;direction&quot;:0,&quot;isSupportDecBetweenItems&quot;:false},&quot;tags&quot;:{&quot;style&quot;:[&quot;商务&quot;,&quot;简约&quot;,&quot;文艺清新&quot;,&quot;中国风&quot;,&quot;卡通&quot;,&quot;欧美风&quot;,&quot;黑板风&quot;,&quot;渐变风&quot;,&quot;党政风&quot;]},&quot;slide_type&quot;:[&quot;text&quot;]}"/>
  <p:tag name="KSO_WM_CHIP_XID" val="5f0fcc7605e68e5c80755dc3 "/>
  <p:tag name="KSO_WM_CHIP_FILLPROP" val="[[{&quot;text_align&quot;:&quot;lm&quot;,&quot;text_direction&quot;:&quot;horizontal&quot;,&quot;support_big_font&quot;:false,&quot;fill_id&quot;:&quot;c427251cb9fa4f5abcbf0d4d87c62116&quot;,&quot;fill_align&quot;:&quot;lm&quot;,&quot;chip_types&quot;:[&quot;header&quot;]},{&quot;text_align&quot;:&quot;lm&quot;,&quot;text_direction&quot;:&quot;horizontal&quot;,&quot;support_features&quot;:[&quot;collage&quot;,&quot;carousel&quot;,&quot;creativecrop&quot;],&quot;support_big_font&quot;:false,&quot;fill_id&quot;:&quot;6185dfe2f69e4b33b276efb1f6396f29&quot;,&quot;fill_align&quot;:&quot;lm&quot;,&quot;chip_types&quot;:[&quot;diagram&quot;,&quot;pictext&quot;,&quot;picture&quot;,&quot;chart&quot;,&quot;table&quot;,&quot;video&quot;]},{&quot;text_align&quot;:&quot;lm&quot;,&quot;text_direction&quot;:&quot;horizontal&quot;,&quot;support_big_font&quot;:false,&quot;fill_id&quot;:&quot;d87aa51092b94ad1b53f0ca131f68eba&quot;,&quot;fill_align&quot;:&quot;lm&quot;,&quot;chip_types&quot;:[&quot;pictext&quot;,&quot;text&quot;,&quot;picture&quot;,&quot;table&quot;]},{&quot;text_align&quot;:&quot;lm&quot;,&quot;text_direction&quot;:&quot;horizontal&quot;,&quot;support_big_font&quot;:false,&quot;fill_id&quot;:&quot;887854800e6440bda1727bc371133c2a&quot;,&quot;fill_align&quot;:&quot;lm&quot;,&quot;chip_types&quot;:[&quot;pictext&quot;,&quot;text&quot;,&quot;picture&quot;,&quot;table&quot;]}],[{&quot;text_align&quot;:&quot;lm&quot;,&quot;text_direction&quot;:&quot;horizontal&quot;,&quot;support_big_font&quot;:false,&quot;fill_id&quot;:&quot;c427251cb9fa4f5abcbf0d4d87c62116&quot;,&quot;fill_align&quot;:&quot;lm&quot;,&quot;chip_types&quot;:[&quot;header&quot;]},{&quot;text_align&quot;:&quot;lm&quot;,&quot;text_direction&quot;:&quot;horizontal&quot;,&quot;support_big_font&quot;:false,&quot;fill_id&quot;:&quot;6185dfe2f69e4b33b276efb1f6396f29&quot;,&quot;fill_align&quot;:&quot;lm&quot;,&quot;chip_types&quot;:[&quot;text&quot;]},{&quot;text_align&quot;:&quot;lm&quot;,&quot;text_direction&quot;:&quot;horizontal&quot;,&quot;support_big_font&quot;:false,&quot;fill_id&quot;:&quot;d87aa51092b94ad1b53f0ca131f68eba&quot;,&quot;fill_align&quot;:&quot;lm&quot;,&quot;chip_types&quot;:[&quot;pictext&quot;,&quot;picture&quot;,&quot;table&quot;]},{&quot;text_align&quot;:&quot;lm&quot;,&quot;text_direction&quot;:&quot;horizontal&quot;,&quot;support_big_font&quot;:false,&quot;fill_id&quot;:&quot;887854800e6440bda1727bc371133c2a&quot;,&quot;fill_align&quot;:&quot;lm&quot;,&quot;chip_types&quot;:[&quot;pictext&quot;,&quot;picture&quot;,&quot;table&quot;]}]]"/>
  <p:tag name="KSO_WM_CHIP_DECFILLPROP" val="[]"/>
  <p:tag name="KSO_WM_CHIP_GROUPID" val="5f0fcc7605e68e5c80755dc2"/>
  <p:tag name="KSO_WM_SLIDE_BK_DARK_LIGHT" val="2"/>
  <p:tag name="KSO_WM_SLIDE_BACKGROUND_TYPE" val="general"/>
  <p:tag name="KSO_WM_SLIDE_SUPPORT_FEATURE_TYPE" val="0"/>
  <p:tag name="KSO_WM_TEMPLATE_ASSEMBLE_XID" val="60656fa54054ed1e2fb80e24"/>
  <p:tag name="KSO_WM_TEMPLATE_ASSEMBLE_GROUPID" val="60656fa54054ed1e2fb80e24"/>
</p:tagLst>
</file>

<file path=ppt/tags/tag121.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24"/>
  <p:tag name="KSO_WM_UNIT_HIGHLIGHT" val="0"/>
  <p:tag name="KSO_WM_UNIT_COMPATIBLE" val="0"/>
  <p:tag name="KSO_WM_UNIT_DIAGRAM_ISNUMVISUAL" val="0"/>
  <p:tag name="KSO_WM_UNIT_DIAGRAM_ISREFERUNIT" val="0"/>
  <p:tag name="KSO_WM_UNIT_TYPE" val="a"/>
  <p:tag name="KSO_WM_UNIT_INDEX" val="1"/>
  <p:tag name="KSO_WM_UNIT_ID" val="diagram20215180_1*a*1"/>
  <p:tag name="KSO_WM_TEMPLATE_CATEGORY" val="diagram"/>
  <p:tag name="KSO_WM_TEMPLATE_INDEX" val="20215180"/>
  <p:tag name="KSO_WM_UNIT_LAYERLEVEL" val="1"/>
  <p:tag name="KSO_WM_TAG_VERSION" val="1.0"/>
  <p:tag name="KSO_WM_BEAUTIFY_FLAG" val="#wm#"/>
  <p:tag name="KSO_WM_UNIT_PRESET_TEXT" val="单击此处添加大标题内容"/>
  <p:tag name="KSO_WM_UNIT_DEFAULT_FONT" val="24;44;4"/>
  <p:tag name="KSO_WM_UNIT_BLOCK" val="0"/>
  <p:tag name="KSO_WM_UNIT_SHOW_EDIT_AREA_INDICATION" val="1"/>
  <p:tag name="KSO_WM_CHIP_GROUPID" val="5e7881253197e252a37019b5"/>
  <p:tag name="KSO_WM_CHIP_XID" val="5e7881253197e252a37019b6"/>
  <p:tag name="KSO_WM_UNIT_DEC_AREA_ID" val="98a8861254c74da99bc08590e9ac78d3"/>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m&quot;,&quot;fill_mode&quot;:&quot;full&quot;,&quot;sacle_strategy&quot;:&quot;smart&quot;}"/>
  <p:tag name="KSO_WM_ASSEMBLE_CHIP_INDEX" val="2ffde08a38254fdc936d7a97ed9c57e8"/>
  <p:tag name="KSO_WM_UNIT_TEXT_FILL_FORE_SCHEMECOLOR_INDEX_BRIGHTNESS" val="0"/>
  <p:tag name="KSO_WM_UNIT_TEXT_FILL_FORE_SCHEMECOLOR_INDEX" val="13"/>
  <p:tag name="KSO_WM_UNIT_TEXT_FILL_TYPE" val="1"/>
  <p:tag name="KSO_WM_TEMPLATE_ASSEMBLE_XID" val="60656fa54054ed1e2fb80e24"/>
  <p:tag name="KSO_WM_TEMPLATE_ASSEMBLE_GROUPID" val="60656fa54054ed1e2fb80e24"/>
</p:tagLst>
</file>

<file path=ppt/tags/tag122.xml><?xml version="1.0" encoding="utf-8"?>
<p:tagLst xmlns:a="http://schemas.openxmlformats.org/drawingml/2006/main" xmlns:r="http://schemas.openxmlformats.org/officeDocument/2006/relationships" xmlns:p="http://schemas.openxmlformats.org/presentationml/2006/main">
  <p:tag name="KSO_WM_UNIT_TEXT_SUBTYPE" val="a"/>
  <p:tag name="KSO_WM_UNIT_SUBTYPE" val="a"/>
  <p:tag name="KSO_WM_UNIT_PRESET_TEXT" val="单击此处添加正文，文字是您思想的提炼，为了演示发布的良好效果，请言简意赅的阐述您的观点。您的内容已经简明扼要，字字珠玑，但信息却千丝万缕、错综复杂，需要用更多的文字来表述；但请您尽可能提炼思想的精髓，否则容易造成观者的阅读压力，适得其反。正如我们都希望改变世界，希望给别人带去光明，但更多时候我们只需要播下一颗种子，自然有微风吹拂，雨露滋养。恰如其分的表达观点，往往事半功倍。当您的内容到达这个限度时，或许已经不纯粹作用于演示，极大可能运用于阅读领域；无论是传播观点、知识分享还是汇报工作，内容的详尽固然重要，但请一定注意信息框架的清晰，这样才能使内容层次分明，页面简洁易读。如果您的内容确实非常重要又难以精简，也请使用分段处理。"/>
  <p:tag name="KSO_WM_UNIT_NOCLEAR" val="0"/>
  <p:tag name="KSO_WM_UNIT_HIGHLIGHT" val="0"/>
  <p:tag name="KSO_WM_UNIT_COMPATIBLE" val="0"/>
  <p:tag name="KSO_WM_UNIT_DIAGRAM_ISNUMVISUAL" val="0"/>
  <p:tag name="KSO_WM_UNIT_DIAGRAM_ISREFERUNIT" val="0"/>
  <p:tag name="KSO_WM_UNIT_TYPE" val="f"/>
  <p:tag name="KSO_WM_UNIT_INDEX" val="1"/>
  <p:tag name="KSO_WM_UNIT_ID" val="diagram20215180_1*f*1"/>
  <p:tag name="KSO_WM_TEMPLATE_CATEGORY" val="diagram"/>
  <p:tag name="KSO_WM_TEMPLATE_INDEX" val="20215180"/>
  <p:tag name="KSO_WM_UNIT_LAYERLEVEL" val="1"/>
  <p:tag name="KSO_WM_TAG_VERSION" val="1.0"/>
  <p:tag name="KSO_WM_BEAUTIFY_FLAG" val="#wm#"/>
  <p:tag name="KSO_WM_UNIT_DEFAULT_FONT" val="14;20;2"/>
  <p:tag name="KSO_WM_UNIT_BLOCK" val="0"/>
  <p:tag name="KSO_WM_UNIT_VALUE" val="350"/>
  <p:tag name="KSO_WM_UNIT_SHOW_EDIT_AREA_INDICATION" val="1"/>
  <p:tag name="KSO_WM_CHIP_GROUPID" val="5e6b05596848fb12bee65ac8"/>
  <p:tag name="KSO_WM_CHIP_XID" val="5e6b05596848fb12bee65aca"/>
  <p:tag name="KSO_WM_UNIT_DEC_AREA_ID" val="00bcee39a96c4274baf2f5b836fb1e19"/>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m&quot;,&quot;fill_mode&quot;:&quot;full&quot;,&quot;sacle_strategy&quot;:&quot;smart&quot;}"/>
  <p:tag name="KSO_WM_ASSEMBLE_CHIP_INDEX" val="a7a9613e6a0b486f9f2935a94a6ee036"/>
  <p:tag name="KSO_WM_UNIT_TEXT_FILL_FORE_SCHEMECOLOR_INDEX_BRIGHTNESS" val="0.25"/>
  <p:tag name="KSO_WM_UNIT_TEXT_FILL_FORE_SCHEMECOLOR_INDEX" val="13"/>
  <p:tag name="KSO_WM_UNIT_TEXT_FILL_TYPE" val="1"/>
  <p:tag name="KSO_WM_TEMPLATE_ASSEMBLE_XID" val="60656fa54054ed1e2fb80e24"/>
  <p:tag name="KSO_WM_TEMPLATE_ASSEMBLE_GROUPID" val="60656fa54054ed1e2fb80e24"/>
</p:tagLst>
</file>

<file path=ppt/tags/tag123.xml><?xml version="1.0" encoding="utf-8"?>
<p:tagLst xmlns:a="http://schemas.openxmlformats.org/drawingml/2006/main" xmlns:r="http://schemas.openxmlformats.org/officeDocument/2006/relationships" xmlns:p="http://schemas.openxmlformats.org/presentationml/2006/main">
  <p:tag name="KSO_WM_UNIT_VALUE" val="677*1269"/>
  <p:tag name="KSO_WM_UNIT_HIGHLIGHT" val="0"/>
  <p:tag name="KSO_WM_UNIT_COMPATIBLE" val="0"/>
  <p:tag name="KSO_WM_UNIT_DIAGRAM_ISNUMVISUAL" val="0"/>
  <p:tag name="KSO_WM_UNIT_DIAGRAM_ISREFERUNIT" val="0"/>
  <p:tag name="KSO_WM_UNIT_TYPE" val="d"/>
  <p:tag name="KSO_WM_UNIT_INDEX" val="2"/>
  <p:tag name="KSO_WM_UNIT_ID" val="diagram20215180_1*d*2"/>
  <p:tag name="KSO_WM_TEMPLATE_CATEGORY" val="diagram"/>
  <p:tag name="KSO_WM_TEMPLATE_INDEX" val="20215180"/>
  <p:tag name="KSO_WM_UNIT_LAYERLEVEL" val="1"/>
  <p:tag name="KSO_WM_TAG_VERSION" val="1.0"/>
  <p:tag name="KSO_WM_BEAUTIFY_FLAG" val="#wm#"/>
  <p:tag name="KSO_WM_CHIP_GROUPID" val="5e7310da9a230a26b9e88a19"/>
  <p:tag name="KSO_WM_CHIP_XID" val="5e7310da9a230a26b9e88a1a"/>
  <p:tag name="KSO_WM_UNIT_DEC_AREA_ID" val="376a0051ecf2413a92948377f38ff790"/>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m&quot;,&quot;fill_mode&quot;:&quot;full&quot;,&quot;sacle_strategy&quot;:&quot;smart&quot;}"/>
  <p:tag name="KSO_WM_ASSEMBLE_CHIP_INDEX" val="0f0ea370d221433c8363a927493ac50e"/>
  <p:tag name="KSO_WM_UNIT_SUPPORT_UNIT_TYPE" val="[&quot;d&quot;,&quot;β&quot;]"/>
  <p:tag name="KSO_WM_TEMPLATE_ASSEMBLE_XID" val="60656fa54054ed1e2fb80e24"/>
  <p:tag name="KSO_WM_TEMPLATE_ASSEMBLE_GROUPID" val="60656fa54054ed1e2fb80e24"/>
  <p:tag name="KSO_WM_UNIT_PICTURE_CLIP_FLAG" val="0"/>
</p:tagLst>
</file>

<file path=ppt/tags/tag124.xml><?xml version="1.0" encoding="utf-8"?>
<p:tagLst xmlns:a="http://schemas.openxmlformats.org/drawingml/2006/main" xmlns:r="http://schemas.openxmlformats.org/officeDocument/2006/relationships" xmlns:p="http://schemas.openxmlformats.org/presentationml/2006/main">
  <p:tag name="ISLIDE.THEME" val="https://www.islide.cc;"/>
  <p:tag name="KSO_WM_BEAUTIFY_FLAG" val="#wm#"/>
  <p:tag name="KSO_WM_TEMPLATE_CATEGORY" val="diagram"/>
  <p:tag name="KSO_WM_TEMPLATE_INDEX" val="20213341"/>
  <p:tag name="KSO_WM_SLIDE_BACKGROUND" val="[&quot;general&quot;]"/>
  <p:tag name="KSO_WM_SLIDE_RATIO" val="1.777778"/>
  <p:tag name="KSO_WM_CHIP_INFOS" val="{&quot;type&quot;:0,&quot;layout_type&quot;:&quot;topbottom&quot;,&quot;layout_feature&quot;:1,&quot;aspect_ratio&quot;:&quot;16:9&quot;,&quot;same_font_size&quot;:false,&quot;diagram&quot;:{&quot;type&quot;:[],&quot;direction&quot;:0,&quot;isSupportDecBetweenItems&quot;:false},&quot;tags&quot;:{&quot;style&quot;:[&quot;商务&quot;,&quot;简约&quot;,&quot;文艺清新&quot;,&quot;中国风&quot;,&quot;卡通&quot;,&quot;欧美风&quot;,&quot;黑板风&quot;,&quot;渐变风&quot;,&quot;党政风&quot;]},&quot;slide_type&quot;:[&quot;text&quot;]}"/>
  <p:tag name="KSO_WM_SLIDE_CAN_ADD_NAVIGATION" val="1"/>
  <p:tag name="KSO_WM_SLIDE_ID" val="diagram20213341_1"/>
  <p:tag name="KSO_WM_TEMPLATE_SUBCATEGORY" val="21"/>
  <p:tag name="KSO_WM_TEMPLATE_MASTER_TYPE" val="0"/>
  <p:tag name="KSO_WM_TEMPLATE_COLOR_TYPE" val="1"/>
  <p:tag name="KSO_WM_SLIDE_TYPE" val="text"/>
  <p:tag name="KSO_WM_SLIDE_SUBTYPE" val="picTxt"/>
  <p:tag name="KSO_WM_SLIDE_ITEM_CNT" val="0"/>
  <p:tag name="KSO_WM_SLIDE_INDEX" val="1"/>
  <p:tag name="KSO_WM_SLIDE_SIZE" val="864*420"/>
  <p:tag name="KSO_WM_SLIDE_POSITION" val="48*48"/>
  <p:tag name="KSO_WM_TAG_VERSION" val="1.0"/>
  <p:tag name="KSO_WM_CHIP_FILLPROP" val="[[{&quot;text_align&quot;:&quot;lt&quot;,&quot;text_direction&quot;:&quot;horizontal&quot;,&quot;support_big_font&quot;:false,&quot;fill_id&quot;:&quot;13764482d0b94c3797cd92679777cb6d&quot;,&quot;fill_align&quot;:&quot;lt&quot;,&quot;chip_types&quot;:[&quot;header&quot;]},{&quot;text_align&quot;:&quot;lm&quot;,&quot;text_direction&quot;:&quot;horizontal&quot;,&quot;support_features&quot;:[&quot;collage&quot;,&quot;carousel&quot;],&quot;support_big_font&quot;:false,&quot;fill_id&quot;:&quot;0c7aeec11ac7457eb4d583c52a0ae3d5&quot;,&quot;fill_align&quot;:&quot;lm&quot;,&quot;chip_types&quot;:[&quot;diagram&quot;,&quot;pictext&quot;,&quot;picture&quot;,&quot;chart&quot;,&quot;table&quot;,&quot;video&quot;]},{&quot;text_align&quot;:&quot;lm&quot;,&quot;text_direction&quot;:&quot;horizontal&quot;,&quot;support_big_font&quot;:true,&quot;fill_id&quot;:&quot;95d2289085634f659fb9ea746d7af990&quot;,&quot;fill_align&quot;:&quot;lm&quot;,&quot;chip_types&quot;:[&quot;text&quot;,&quot;table&quot;]}]]"/>
  <p:tag name="KSO_WM_SLIDE_LAYOUT" val="a_d_f"/>
  <p:tag name="KSO_WM_SLIDE_LAYOUT_INFO" val="{&quot;backgroundInfo&quot;:[{&quot;bottom&quot;:0,&quot;bottomAbs&quot;:false,&quot;left&quot;:0,&quot;leftAbs&quot;:false,&quot;right&quot;:0,&quot;rightAbs&quot;:false,&quot;top&quot;:0,&quot;topAbs&quot;:false,&quot;type&quot;:&quot;general&quot;}],&quot;id&quot;:&quot;2021-04-01T15:18:54&quot;,&quot;maxSize&quot;:{&quot;size1&quot;:26.7},&quot;minSize&quot;:{&quot;size1&quot;:17.8},&quot;normalSize&quot;:{&quot;size1&quot;:22.2},&quot;subLayout&quot;:[{&quot;id&quot;:&quot;2021-04-01T15:18:54&quot;,&quot;margin&quot;:{&quot;bottom&quot;:0,&quot;left&quot;:1.6929999589920044,&quot;right&quot;:1.6929999589920044,&quot;top&quot;:1.6929999589920044},&quot;type&quot;:0},{&quot;direction&quot;:1,&quot;id&quot;:&quot;2021-04-01T15:18:54&quot;,&quot;maxSize&quot;:{&quot;size1&quot;:61.19965151151022},&quot;minSize&quot;:{&quot;size1&quot;:49.999651511510216},&quot;normalSize&quot;:{&quot;size1&quot;:54.32465151151022},&quot;subLayout&quot;:[{&quot;id&quot;:&quot;2021-04-01T15:18:54&quot;,&quot;margin&quot;:{&quot;bottom&quot;:1.6929999589920044,&quot;left&quot;:1.6929999589920044,&quot;right&quot;:1.243999719619751,&quot;top&quot;:0.847000002861023},&quot;type&quot;:0},{&quot;id&quot;:&quot;2021-04-01T15:18:54&quot;,&quot;margin&quot;:{&quot;bottom&quot;:2.5399999618530273,&quot;left&quot;:0.02600000612437725,&quot;right&quot;:1.6929999589920044,&quot;top&quot;:0.847000002861023},&quot;type&quot;:0}],&quot;type&quot;:0}],&quot;type&quot;:0}"/>
  <p:tag name="KSO_WM_CHIP_XID" val="5f69641a553136823a5e617e"/>
  <p:tag name="KSO_WM_SLIDE_LAYOUT_CNT" val="1_1_1"/>
  <p:tag name="FIXED_XID_TMP" val="5f5ee1ca4d6848d78f644aec"/>
  <p:tag name="KSO_WM_CHIP_DECFILLPROP" val="[]"/>
  <p:tag name="KSO_WM_CHIP_GROUPID" val="5f5ee1ca4d6848d78f644aec"/>
  <p:tag name="KSO_WM_SLIDE_BK_DARK_LIGHT" val="2"/>
  <p:tag name="KSO_WM_SLIDE_BACKGROUND_TYPE" val="general"/>
  <p:tag name="KSO_WM_SLIDE_SUPPORT_FEATURE_TYPE" val="3"/>
  <p:tag name="KSO_WM_TEMPLATE_ASSEMBLE_XID" val="60656ece4054ed1e2fb7fff9"/>
  <p:tag name="KSO_WM_TEMPLATE_ASSEMBLE_GROUPID" val="60656ece4054ed1e2fb7fff9"/>
</p:tagLst>
</file>

<file path=ppt/tags/tag125.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30"/>
  <p:tag name="KSO_WM_UNIT_HIGHLIGHT" val="0"/>
  <p:tag name="KSO_WM_UNIT_COMPATIBLE" val="0"/>
  <p:tag name="KSO_WM_UNIT_DIAGRAM_ISNUMVISUAL" val="0"/>
  <p:tag name="KSO_WM_UNIT_DIAGRAM_ISREFERUNIT" val="0"/>
  <p:tag name="KSO_WM_UNIT_TYPE" val="a"/>
  <p:tag name="KSO_WM_UNIT_INDEX" val="1"/>
  <p:tag name="KSO_WM_UNIT_ID" val="diagram20213341_1*a*1"/>
  <p:tag name="KSO_WM_TEMPLATE_CATEGORY" val="diagram"/>
  <p:tag name="KSO_WM_TEMPLATE_INDEX" val="20213341"/>
  <p:tag name="KSO_WM_UNIT_LAYERLEVEL" val="1"/>
  <p:tag name="KSO_WM_TAG_VERSION" val="1.0"/>
  <p:tag name="KSO_WM_BEAUTIFY_FLAG" val="#wm#"/>
  <p:tag name="KSO_WM_UNIT_PRESET_TEXT" val="单击此处添加大标题内容"/>
  <p:tag name="KSO_WM_UNIT_DEFAULT_FONT" val="24;44;4"/>
  <p:tag name="KSO_WM_UNIT_BLOCK" val="0"/>
  <p:tag name="KSO_WM_UNIT_SHOW_EDIT_AREA_INDICATION" val="1"/>
  <p:tag name="KSO_WM_CHIP_GROUPID" val="5e7881253197e252a37019b5"/>
  <p:tag name="KSO_WM_CHIP_XID" val="5e7881253197e252a37019b6"/>
  <p:tag name="KSO_WM_UNIT_DEC_AREA_ID" val="814826f8060e41138ca1c58bc16e86a3"/>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t&quot;,&quot;fill_mode&quot;:&quot;full&quot;,&quot;sacle_strategy&quot;:&quot;smart&quot;}"/>
  <p:tag name="KSO_WM_ASSEMBLE_CHIP_INDEX" val="7cb0c46466ce441fb0b47d0c372ef067"/>
  <p:tag name="KSO_WM_UNIT_TEXT_FILL_FORE_SCHEMECOLOR_INDEX_BRIGHTNESS" val="0"/>
  <p:tag name="KSO_WM_UNIT_TEXT_FILL_FORE_SCHEMECOLOR_INDEX" val="13"/>
  <p:tag name="KSO_WM_UNIT_TEXT_FILL_TYPE" val="1"/>
  <p:tag name="KSO_WM_TEMPLATE_ASSEMBLE_XID" val="60656ece4054ed1e2fb7fff9"/>
  <p:tag name="KSO_WM_TEMPLATE_ASSEMBLE_GROUPID" val="60656ece4054ed1e2fb7fff9"/>
</p:tagLst>
</file>

<file path=ppt/tags/tag126.xml><?xml version="1.0" encoding="utf-8"?>
<p:tagLst xmlns:a="http://schemas.openxmlformats.org/drawingml/2006/main" xmlns:r="http://schemas.openxmlformats.org/officeDocument/2006/relationships" xmlns:p="http://schemas.openxmlformats.org/presentationml/2006/main">
  <p:tag name="KSO_WM_UNIT_TEXT_SUBTYPE" val="a"/>
  <p:tag name="KSO_WM_UNIT_SUBTYPE" val="a"/>
  <p:tag name="KSO_WM_UNIT_PRESET_TEXT" val="单击此处添加正文，文字是您思想的提炼，为了演示发布的良好效果，请言简意赅的阐述您的观点。您的内容已经简明扼要。"/>
  <p:tag name="KSO_WM_UNIT_NOCLEAR" val="0"/>
  <p:tag name="KSO_WM_UNIT_HIGHLIGHT" val="0"/>
  <p:tag name="KSO_WM_UNIT_COMPATIBLE" val="0"/>
  <p:tag name="KSO_WM_UNIT_DIAGRAM_ISNUMVISUAL" val="0"/>
  <p:tag name="KSO_WM_UNIT_DIAGRAM_ISREFERUNIT" val="0"/>
  <p:tag name="KSO_WM_UNIT_TYPE" val="f"/>
  <p:tag name="KSO_WM_UNIT_INDEX" val="1"/>
  <p:tag name="KSO_WM_UNIT_ID" val="diagram20213341_1*f*1"/>
  <p:tag name="KSO_WM_TEMPLATE_CATEGORY" val="diagram"/>
  <p:tag name="KSO_WM_TEMPLATE_INDEX" val="20213341"/>
  <p:tag name="KSO_WM_UNIT_LAYERLEVEL" val="1"/>
  <p:tag name="KSO_WM_TAG_VERSION" val="1.0"/>
  <p:tag name="KSO_WM_BEAUTIFY_FLAG" val="#wm#"/>
  <p:tag name="KSO_WM_UNIT_DEFAULT_FONT" val="14;20;2"/>
  <p:tag name="KSO_WM_UNIT_BLOCK" val="0"/>
  <p:tag name="KSO_WM_UNIT_VALUE" val="64"/>
  <p:tag name="KSO_WM_UNIT_SHOW_EDIT_AREA_INDICATION" val="1"/>
  <p:tag name="KSO_WM_CHIP_GROUPID" val="5e6b05596848fb12bee65ac8"/>
  <p:tag name="KSO_WM_CHIP_XID" val="5e6b05596848fb12bee65aca"/>
  <p:tag name="KSO_WM_UNIT_DEC_AREA_ID" val="5fa1eb2e343e45e0aa7eaaf5a4637eb2"/>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m&quot;,&quot;fill_mode&quot;:&quot;full&quot;,&quot;sacle_strategy&quot;:&quot;smart&quot;}"/>
  <p:tag name="KSO_WM_ASSEMBLE_CHIP_INDEX" val="5dd19e8c1bcc468c8309be4e06d5dcd0"/>
  <p:tag name="KSO_WM_UNIT_SUPPORT_BIG_FONT" val="1"/>
  <p:tag name="KSO_WM_UNIT_SUPPORT_UNIT_TYPE" val="[&quot;β&quot;]"/>
  <p:tag name="KSO_WM_UNIT_TEXT_FILL_FORE_SCHEMECOLOR_INDEX_BRIGHTNESS" val="0.25"/>
  <p:tag name="KSO_WM_UNIT_TEXT_FILL_FORE_SCHEMECOLOR_INDEX" val="13"/>
  <p:tag name="KSO_WM_UNIT_TEXT_FILL_TYPE" val="1"/>
  <p:tag name="KSO_WM_TEMPLATE_ASSEMBLE_XID" val="60656ece4054ed1e2fb7fff9"/>
  <p:tag name="KSO_WM_TEMPLATE_ASSEMBLE_GROUPID" val="60656ece4054ed1e2fb7fff9"/>
</p:tagLst>
</file>

<file path=ppt/tags/tag127.xml><?xml version="1.0" encoding="utf-8"?>
<p:tagLst xmlns:a="http://schemas.openxmlformats.org/drawingml/2006/main" xmlns:r="http://schemas.openxmlformats.org/officeDocument/2006/relationships" xmlns:p="http://schemas.openxmlformats.org/presentationml/2006/main">
  <p:tag name="ISLIDE.THEME" val="https://www.islide.cc;"/>
  <p:tag name="KSO_WM_BEAUTIFY_FLAG" val="#wm#"/>
  <p:tag name="KSO_WM_TEMPLATE_CATEGORY" val="diagram"/>
  <p:tag name="KSO_WM_TEMPLATE_INDEX" val="20213341"/>
  <p:tag name="KSO_WM_SLIDE_BACKGROUND" val="[&quot;general&quot;]"/>
  <p:tag name="KSO_WM_SLIDE_RATIO" val="1.777778"/>
  <p:tag name="KSO_WM_CHIP_INFOS" val="{&quot;type&quot;:0,&quot;layout_type&quot;:&quot;topbottom&quot;,&quot;layout_feature&quot;:1,&quot;aspect_ratio&quot;:&quot;16:9&quot;,&quot;same_font_size&quot;:false,&quot;diagram&quot;:{&quot;type&quot;:[],&quot;direction&quot;:0,&quot;isSupportDecBetweenItems&quot;:false},&quot;tags&quot;:{&quot;style&quot;:[&quot;商务&quot;,&quot;简约&quot;,&quot;文艺清新&quot;,&quot;中国风&quot;,&quot;卡通&quot;,&quot;欧美风&quot;,&quot;黑板风&quot;,&quot;渐变风&quot;,&quot;党政风&quot;]},&quot;slide_type&quot;:[&quot;text&quot;]}"/>
  <p:tag name="KSO_WM_SLIDE_CAN_ADD_NAVIGATION" val="1"/>
  <p:tag name="KSO_WM_SLIDE_ID" val="diagram20213341_1"/>
  <p:tag name="KSO_WM_TEMPLATE_SUBCATEGORY" val="21"/>
  <p:tag name="KSO_WM_TEMPLATE_MASTER_TYPE" val="0"/>
  <p:tag name="KSO_WM_TEMPLATE_COLOR_TYPE" val="1"/>
  <p:tag name="KSO_WM_SLIDE_TYPE" val="text"/>
  <p:tag name="KSO_WM_SLIDE_SUBTYPE" val="picTxt"/>
  <p:tag name="KSO_WM_SLIDE_ITEM_CNT" val="0"/>
  <p:tag name="KSO_WM_SLIDE_INDEX" val="1"/>
  <p:tag name="KSO_WM_SLIDE_SIZE" val="864*420"/>
  <p:tag name="KSO_WM_SLIDE_POSITION" val="48*48"/>
  <p:tag name="KSO_WM_TAG_VERSION" val="1.0"/>
  <p:tag name="KSO_WM_CHIP_FILLPROP" val="[[{&quot;text_align&quot;:&quot;lt&quot;,&quot;text_direction&quot;:&quot;horizontal&quot;,&quot;support_big_font&quot;:false,&quot;fill_id&quot;:&quot;13764482d0b94c3797cd92679777cb6d&quot;,&quot;fill_align&quot;:&quot;lt&quot;,&quot;chip_types&quot;:[&quot;header&quot;]},{&quot;text_align&quot;:&quot;lm&quot;,&quot;text_direction&quot;:&quot;horizontal&quot;,&quot;support_features&quot;:[&quot;collage&quot;,&quot;carousel&quot;],&quot;support_big_font&quot;:false,&quot;fill_id&quot;:&quot;0c7aeec11ac7457eb4d583c52a0ae3d5&quot;,&quot;fill_align&quot;:&quot;lm&quot;,&quot;chip_types&quot;:[&quot;diagram&quot;,&quot;pictext&quot;,&quot;picture&quot;,&quot;chart&quot;,&quot;table&quot;,&quot;video&quot;]},{&quot;text_align&quot;:&quot;lm&quot;,&quot;text_direction&quot;:&quot;horizontal&quot;,&quot;support_big_font&quot;:true,&quot;fill_id&quot;:&quot;95d2289085634f659fb9ea746d7af990&quot;,&quot;fill_align&quot;:&quot;lm&quot;,&quot;chip_types&quot;:[&quot;text&quot;,&quot;table&quot;]}]]"/>
  <p:tag name="KSO_WM_SLIDE_LAYOUT" val="a_d_f"/>
  <p:tag name="KSO_WM_SLIDE_LAYOUT_INFO" val="{&quot;backgroundInfo&quot;:[{&quot;bottom&quot;:0,&quot;bottomAbs&quot;:false,&quot;left&quot;:0,&quot;leftAbs&quot;:false,&quot;right&quot;:0,&quot;rightAbs&quot;:false,&quot;top&quot;:0,&quot;topAbs&quot;:false,&quot;type&quot;:&quot;general&quot;}],&quot;id&quot;:&quot;2021-04-01T15:18:54&quot;,&quot;maxSize&quot;:{&quot;size1&quot;:26.7},&quot;minSize&quot;:{&quot;size1&quot;:17.8},&quot;normalSize&quot;:{&quot;size1&quot;:25.255555555555556},&quot;subLayout&quot;:[{&quot;id&quot;:&quot;2021-04-01T15:18:54&quot;,&quot;margin&quot;:{&quot;bottom&quot;:0,&quot;left&quot;:1.6929999589920044,&quot;right&quot;:1.6929999589920044,&quot;top&quot;:1.6929999589920044},&quot;type&quot;:0},{&quot;direction&quot;:1,&quot;id&quot;:&quot;2021-04-01T15:18:54&quot;,&quot;maxSize&quot;:{&quot;size1&quot;:61.19965151151022},&quot;minSize&quot;:{&quot;size1&quot;:49.999651511510216},&quot;normalSize&quot;:{&quot;size1&quot;:59.48090151151022},&quot;subLayout&quot;:[{&quot;id&quot;:&quot;2021-04-01T15:18:54&quot;,&quot;margin&quot;:{&quot;bottom&quot;:1.6929999589920044,&quot;left&quot;:1.6929999589920044,&quot;right&quot;:1.243999719619751,&quot;top&quot;:0.847000002861023},&quot;type&quot;:0},{&quot;id&quot;:&quot;2021-04-01T15:18:54&quot;,&quot;margin&quot;:{&quot;bottom&quot;:2.5399999618530273,&quot;left&quot;:0.02600000612437725,&quot;right&quot;:1.6929999589920044,&quot;top&quot;:0.847000002861023},&quot;type&quot;:0}],&quot;type&quot;:0}],&quot;type&quot;:0}"/>
  <p:tag name="KSO_WM_CHIP_XID" val="5f69641a553136823a5e617e"/>
  <p:tag name="KSO_WM_SLIDE_LAYOUT_CNT" val="1_1_1"/>
  <p:tag name="FIXED_XID_TMP" val="5f5ee1ca4d6848d78f644aec"/>
  <p:tag name="KSO_WM_CHIP_DECFILLPROP" val="[]"/>
  <p:tag name="KSO_WM_CHIP_GROUPID" val="5f5ee1ca4d6848d78f644aec"/>
  <p:tag name="KSO_WM_SLIDE_BK_DARK_LIGHT" val="2"/>
  <p:tag name="KSO_WM_SLIDE_BACKGROUND_TYPE" val="general"/>
  <p:tag name="KSO_WM_SLIDE_SUPPORT_FEATURE_TYPE" val="3"/>
  <p:tag name="KSO_WM_TEMPLATE_ASSEMBLE_XID" val="60656ece4054ed1e2fb7fff9"/>
  <p:tag name="KSO_WM_TEMPLATE_ASSEMBLE_GROUPID" val="60656ece4054ed1e2fb7fff9"/>
</p:tagLst>
</file>

<file path=ppt/tags/tag128.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30"/>
  <p:tag name="KSO_WM_UNIT_HIGHLIGHT" val="0"/>
  <p:tag name="KSO_WM_UNIT_COMPATIBLE" val="0"/>
  <p:tag name="KSO_WM_UNIT_DIAGRAM_ISNUMVISUAL" val="0"/>
  <p:tag name="KSO_WM_UNIT_DIAGRAM_ISREFERUNIT" val="0"/>
  <p:tag name="KSO_WM_UNIT_TYPE" val="a"/>
  <p:tag name="KSO_WM_UNIT_INDEX" val="1"/>
  <p:tag name="KSO_WM_UNIT_ID" val="diagram20213341_1*a*1"/>
  <p:tag name="KSO_WM_TEMPLATE_CATEGORY" val="diagram"/>
  <p:tag name="KSO_WM_TEMPLATE_INDEX" val="20213341"/>
  <p:tag name="KSO_WM_UNIT_LAYERLEVEL" val="1"/>
  <p:tag name="KSO_WM_TAG_VERSION" val="1.0"/>
  <p:tag name="KSO_WM_BEAUTIFY_FLAG" val="#wm#"/>
  <p:tag name="KSO_WM_UNIT_PRESET_TEXT" val="单击此处添加大标题内容"/>
  <p:tag name="KSO_WM_UNIT_DEFAULT_FONT" val="24;44;4"/>
  <p:tag name="KSO_WM_UNIT_BLOCK" val="0"/>
  <p:tag name="KSO_WM_UNIT_SHOW_EDIT_AREA_INDICATION" val="1"/>
  <p:tag name="KSO_WM_CHIP_GROUPID" val="5e7881253197e252a37019b5"/>
  <p:tag name="KSO_WM_CHIP_XID" val="5e7881253197e252a37019b6"/>
  <p:tag name="KSO_WM_UNIT_DEC_AREA_ID" val="814826f8060e41138ca1c58bc16e86a3"/>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t&quot;,&quot;fill_mode&quot;:&quot;full&quot;,&quot;sacle_strategy&quot;:&quot;smart&quot;}"/>
  <p:tag name="KSO_WM_ASSEMBLE_CHIP_INDEX" val="7cb0c46466ce441fb0b47d0c372ef067"/>
  <p:tag name="KSO_WM_UNIT_TEXT_FILL_FORE_SCHEMECOLOR_INDEX_BRIGHTNESS" val="0"/>
  <p:tag name="KSO_WM_UNIT_TEXT_FILL_FORE_SCHEMECOLOR_INDEX" val="13"/>
  <p:tag name="KSO_WM_UNIT_TEXT_FILL_TYPE" val="1"/>
  <p:tag name="KSO_WM_TEMPLATE_ASSEMBLE_XID" val="60656ece4054ed1e2fb7fff9"/>
  <p:tag name="KSO_WM_TEMPLATE_ASSEMBLE_GROUPID" val="60656ece4054ed1e2fb7fff9"/>
</p:tagLst>
</file>

<file path=ppt/tags/tag129.xml><?xml version="1.0" encoding="utf-8"?>
<p:tagLst xmlns:a="http://schemas.openxmlformats.org/drawingml/2006/main" xmlns:r="http://schemas.openxmlformats.org/officeDocument/2006/relationships" xmlns:p="http://schemas.openxmlformats.org/presentationml/2006/main">
  <p:tag name="KSO_WM_UNIT_VALUE" val="1142*1777"/>
  <p:tag name="KSO_WM_UNIT_HIGHLIGHT" val="0"/>
  <p:tag name="KSO_WM_UNIT_COMPATIBLE" val="1"/>
  <p:tag name="KSO_WM_UNIT_DIAGRAM_ISNUMVISUAL" val="0"/>
  <p:tag name="KSO_WM_UNIT_DIAGRAM_ISREFERUNIT" val="0"/>
  <p:tag name="KSO_WM_UNIT_TYPE" val="d"/>
  <p:tag name="KSO_WM_UNIT_INDEX" val="1"/>
  <p:tag name="KSO_WM_UNIT_ID" val="diagram20213341_1*d*1"/>
  <p:tag name="KSO_WM_TEMPLATE_CATEGORY" val="diagram"/>
  <p:tag name="KSO_WM_TEMPLATE_INDEX" val="20213341"/>
  <p:tag name="KSO_WM_UNIT_LAYERLEVEL" val="1"/>
  <p:tag name="KSO_WM_TAG_VERSION" val="1.0"/>
  <p:tag name="KSO_WM_BEAUTIFY_FLAG" val="#wm#"/>
  <p:tag name="KSO_WM_CHIP_GROUPID" val="5e7310da9a230a26b9e88a19"/>
  <p:tag name="KSO_WM_CHIP_XID" val="5e7310da9a230a26b9e88a1a"/>
  <p:tag name="KSO_WM_UNIT_DEC_AREA_ID" val="48728ba5738e4ba88aa7e13940ad8c25"/>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m&quot;,&quot;fill_mode&quot;:&quot;full&quot;,&quot;sacle_strategy&quot;:&quot;smart&quot;}"/>
  <p:tag name="KSO_WM_ASSEMBLE_CHIP_INDEX" val="2bcaac3ac5e2482196498b5d8fb47f26"/>
  <p:tag name="KSO_WM_UNIT_SUPPORT_UNIT_TYPE" val="[&quot;l&quot;,&quot;m&quot;,&quot;n&quot;,&quot;o&quot;,&quot;p&quot;,&quot;q&quot;,&quot;r&quot;,&quot;δ&quot;,&quot;ε&quot;,&quot;ζ&quot;,&quot;η&quot;,&quot;d&quot;,&quot;α&quot;,&quot;β&quot;,&quot;θ&quot;]"/>
  <p:tag name="KSO_WM_TEMPLATE_ASSEMBLE_XID" val="60656ece4054ed1e2fb7fff9"/>
  <p:tag name="KSO_WM_TEMPLATE_ASSEMBLE_GROUPID" val="60656ece4054ed1e2fb7fff9"/>
  <p:tag name="KSO_WM_UNIT_PICTURE_CLIP_FLAG" val="0"/>
</p:tagLst>
</file>

<file path=ppt/tags/tag13.xml><?xml version="1.0" encoding="utf-8"?>
<p:tagLst xmlns:a="http://schemas.openxmlformats.org/drawingml/2006/main" xmlns:r="http://schemas.openxmlformats.org/officeDocument/2006/relationships" xmlns:p="http://schemas.openxmlformats.org/presentationml/2006/main">
  <p:tag name="KSO_WM_UNIT_SUBTYPE" val="a"/>
  <p:tag name="KSO_WM_UNIT_PRESET_TEXT" val="单击此处添加正文内容"/>
  <p:tag name="KSO_WM_UNIT_NOCLEAR" val="0"/>
  <p:tag name="KSO_WM_UNIT_HIGHLIGHT" val="0"/>
  <p:tag name="KSO_WM_UNIT_COMPATIBLE" val="0"/>
  <p:tag name="KSO_WM_UNIT_DIAGRAM_ISNUMVISUAL" val="0"/>
  <p:tag name="KSO_WM_UNIT_DIAGRAM_ISREFERUNIT" val="0"/>
  <p:tag name="KSO_WM_DIAGRAM_GROUP_CODE" val="l1-1"/>
  <p:tag name="KSO_WM_UNIT_TYPE" val="l_h_f"/>
  <p:tag name="KSO_WM_UNIT_INDEX" val="1_5_1"/>
  <p:tag name="KSO_WM_UNIT_ID" val="diagram20218393_5*l_h_f*1_5_1"/>
  <p:tag name="KSO_WM_TEMPLATE_CATEGORY" val="diagram"/>
  <p:tag name="KSO_WM_TEMPLATE_INDEX" val="20218393"/>
  <p:tag name="KSO_WM_UNIT_LAYERLEVEL" val="1_1_1"/>
  <p:tag name="KSO_WM_TAG_VERSION" val="1.0"/>
  <p:tag name="KSO_WM_BEAUTIFY_FLAG" val="#wm#"/>
  <p:tag name="KSO_WM_UNIT_TEXT_FILL_FORE_SCHEMECOLOR_INDEX_BRIGHTNESS" val="0.25"/>
  <p:tag name="KSO_WM_UNIT_TEXT_FILL_FORE_SCHEMECOLOR_INDEX" val="13"/>
  <p:tag name="KSO_WM_UNIT_TEXT_FILL_TYPE" val="1"/>
  <p:tag name="KSO_WM_UNIT_USESOURCEFORMAT_APPLY" val="1"/>
</p:tagLst>
</file>

<file path=ppt/tags/tag130.xml><?xml version="1.0" encoding="utf-8"?>
<p:tagLst xmlns:a="http://schemas.openxmlformats.org/drawingml/2006/main" xmlns:r="http://schemas.openxmlformats.org/officeDocument/2006/relationships" xmlns:p="http://schemas.openxmlformats.org/presentationml/2006/main">
  <p:tag name="KSO_WM_UNIT_TEXT_SUBTYPE" val="a"/>
  <p:tag name="KSO_WM_UNIT_SUBTYPE" val="a"/>
  <p:tag name="KSO_WM_UNIT_PRESET_TEXT" val="单击此处添加正文，文字是您思想的提炼，为了演示发布的良好效果，请言简意赅的阐述您的观点。您的内容已经简明扼要。"/>
  <p:tag name="KSO_WM_UNIT_NOCLEAR" val="0"/>
  <p:tag name="KSO_WM_UNIT_HIGHLIGHT" val="0"/>
  <p:tag name="KSO_WM_UNIT_COMPATIBLE" val="0"/>
  <p:tag name="KSO_WM_UNIT_DIAGRAM_ISNUMVISUAL" val="0"/>
  <p:tag name="KSO_WM_UNIT_DIAGRAM_ISREFERUNIT" val="0"/>
  <p:tag name="KSO_WM_UNIT_TYPE" val="f"/>
  <p:tag name="KSO_WM_UNIT_INDEX" val="1"/>
  <p:tag name="KSO_WM_UNIT_ID" val="diagram20213341_1*f*1"/>
  <p:tag name="KSO_WM_TEMPLATE_CATEGORY" val="diagram"/>
  <p:tag name="KSO_WM_TEMPLATE_INDEX" val="20213341"/>
  <p:tag name="KSO_WM_UNIT_LAYERLEVEL" val="1"/>
  <p:tag name="KSO_WM_TAG_VERSION" val="1.0"/>
  <p:tag name="KSO_WM_BEAUTIFY_FLAG" val="#wm#"/>
  <p:tag name="KSO_WM_UNIT_DEFAULT_FONT" val="14;20;2"/>
  <p:tag name="KSO_WM_UNIT_BLOCK" val="0"/>
  <p:tag name="KSO_WM_UNIT_VALUE" val="64"/>
  <p:tag name="KSO_WM_UNIT_SHOW_EDIT_AREA_INDICATION" val="1"/>
  <p:tag name="KSO_WM_CHIP_GROUPID" val="5e6b05596848fb12bee65ac8"/>
  <p:tag name="KSO_WM_CHIP_XID" val="5e6b05596848fb12bee65aca"/>
  <p:tag name="KSO_WM_UNIT_DEC_AREA_ID" val="5fa1eb2e343e45e0aa7eaaf5a4637eb2"/>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m&quot;,&quot;fill_mode&quot;:&quot;full&quot;,&quot;sacle_strategy&quot;:&quot;smart&quot;}"/>
  <p:tag name="KSO_WM_ASSEMBLE_CHIP_INDEX" val="5dd19e8c1bcc468c8309be4e06d5dcd0"/>
  <p:tag name="KSO_WM_UNIT_SUPPORT_BIG_FONT" val="1"/>
  <p:tag name="KSO_WM_UNIT_SUPPORT_UNIT_TYPE" val="[&quot;β&quot;]"/>
  <p:tag name="KSO_WM_UNIT_TEXT_FILL_FORE_SCHEMECOLOR_INDEX_BRIGHTNESS" val="0.25"/>
  <p:tag name="KSO_WM_UNIT_TEXT_FILL_FORE_SCHEMECOLOR_INDEX" val="13"/>
  <p:tag name="KSO_WM_UNIT_TEXT_FILL_TYPE" val="1"/>
  <p:tag name="KSO_WM_TEMPLATE_ASSEMBLE_XID" val="60656ece4054ed1e2fb7fff9"/>
  <p:tag name="KSO_WM_TEMPLATE_ASSEMBLE_GROUPID" val="60656ece4054ed1e2fb7fff9"/>
</p:tagLst>
</file>

<file path=ppt/tags/tag13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32.xml><?xml version="1.0" encoding="utf-8"?>
<p:tagLst xmlns:a="http://schemas.openxmlformats.org/drawingml/2006/main" xmlns:r="http://schemas.openxmlformats.org/officeDocument/2006/relationships" xmlns:p="http://schemas.openxmlformats.org/presentationml/2006/main">
  <p:tag name="ISLIDE.THEME" val="https://www.islide.cc;"/>
  <p:tag name="KSO_WM_SLIDE_ID" val="diagram20213291_1"/>
  <p:tag name="KSO_WM_TEMPLATE_SUBCATEGORY" val="21"/>
  <p:tag name="KSO_WM_TEMPLATE_MASTER_TYPE" val="0"/>
  <p:tag name="KSO_WM_TEMPLATE_COLOR_TYPE" val="1"/>
  <p:tag name="KSO_WM_SLIDE_TYPE" val="text"/>
  <p:tag name="KSO_WM_SLIDE_SUBTYPE" val="picTxt"/>
  <p:tag name="KSO_WM_SLIDE_ITEM_CNT" val="0"/>
  <p:tag name="KSO_WM_SLIDE_INDEX" val="1"/>
  <p:tag name="KSO_WM_SLIDE_SIZE" val="864*439"/>
  <p:tag name="KSO_WM_SLIDE_POSITION" val="48*48"/>
  <p:tag name="KSO_WM_TAG_VERSION" val="1.0"/>
  <p:tag name="KSO_WM_BEAUTIFY_FLAG" val="#wm#"/>
  <p:tag name="KSO_WM_TEMPLATE_CATEGORY" val="diagram"/>
  <p:tag name="KSO_WM_TEMPLATE_INDEX" val="20213291"/>
  <p:tag name="KSO_WM_SLIDE_LAYOUT" val="a_d_f"/>
  <p:tag name="KSO_WM_SLIDE_LAYOUT_CNT" val="1_1_1"/>
  <p:tag name="KSO_WM_SLIDE_LAYOUT_INFO" val="{&quot;backgroundInfo&quot;:[{&quot;bottom&quot;:0,&quot;bottomAbs&quot;:false,&quot;left&quot;:0,&quot;leftAbs&quot;:false,&quot;right&quot;:0,&quot;rightAbs&quot;:false,&quot;top&quot;:0,&quot;topAbs&quot;:false,&quot;type&quot;:&quot;general&quot;}],&quot;id&quot;:&quot;2021-04-01T15:15:00&quot;,&quot;maxSize&quot;:{&quot;size1&quot;:26.7},&quot;minSize&quot;:{&quot;size1&quot;:17.9},&quot;normalSize&quot;:{&quot;size1&quot;:23.233333333333334},&quot;subLayout&quot;:[{&quot;id&quot;:&quot;2021-04-01T15:15:00&quot;,&quot;margin&quot;:{&quot;bottom&quot;:0.02600000612437725,&quot;left&quot;:1.6929999589920044,&quot;right&quot;:1.6929999589920044,&quot;top&quot;:1.6929999589920044},&quot;type&quot;:0},{&quot;id&quot;:&quot;2021-04-01T15:15:00&quot;,&quot;maxSize&quot;:{&quot;size1&quot;:65},&quot;minSize&quot;:{&quot;size1&quot;:56.9},&quot;normalSize&quot;:{&quot;size1&quot;:62.568389057750764},&quot;subLayout&quot;:[{&quot;id&quot;:&quot;2021-04-01T15:15:00&quot;,&quot;margin&quot;:{&quot;bottom&quot;:0.02600000612437725,&quot;left&quot;:2.5399999618530273,&quot;right&quot;:2.5399999618530273,&quot;top&quot;:1.6670000553131104},&quot;type&quot;:0},{&quot;id&quot;:&quot;2021-04-01T15:15:00&quot;,&quot;margin&quot;:{&quot;bottom&quot;:2.5399999618530273,&quot;left&quot;:2.5399999618530273,&quot;right&quot;:2.5399999618530273,&quot;top&quot;:0.8199999928474426},&quot;type&quot;:0}],&quot;type&quot;:0}],&quot;type&quot;:0}"/>
  <p:tag name="KSO_WM_SLIDE_CAN_ADD_NAVIGATION" val="1"/>
  <p:tag name="KSO_WM_SLIDE_BACKGROUND" val="[&quot;general&quot;]"/>
  <p:tag name="KSO_WM_SLIDE_RATIO" val="1.777778"/>
  <p:tag name="KSO_WM_CHIP_INFOS" val="{&quot;type&quot;:0,&quot;layout_type&quot;:&quot;topbottom&quot;,&quot;layout_feature&quot;:1,&quot;aspect_ratio&quot;:&quot;16:9&quot;,&quot;same_font_size&quot;:false,&quot;diagram&quot;:{&quot;type&quot;:[],&quot;direction&quot;:0,&quot;isSupportDecBetweenItems&quot;:false},&quot;tags&quot;:{&quot;style&quot;:[&quot;商务&quot;,&quot;简约&quot;,&quot;文艺清新&quot;,&quot;中国风&quot;,&quot;卡通&quot;,&quot;欧美风&quot;,&quot;黑板风&quot;,&quot;渐变风&quot;,&quot;党政风&quot;]},&quot;slide_type&quot;:[&quot;text&quot;]}"/>
  <p:tag name="KSO_WM_CHIP_FILLPROP" val="[[{&quot;text_align&quot;:&quot;lt&quot;,&quot;text_direction&quot;:&quot;horizontal&quot;,&quot;support_big_font&quot;:false,&quot;picture_toward&quot;:0,&quot;picture_dockside&quot;:[],&quot;fill_id&quot;:&quot;fbc1d1c81b9c4bca8f09873cfc4ac6db&quot;,&quot;fill_align&quot;:&quot;lt&quot;,&quot;chip_types&quot;:[&quot;header&quot;]},{&quot;text_align&quot;:&quot;lm&quot;,&quot;text_direction&quot;:&quot;horizontal&quot;,&quot;support_features&quot;:[&quot;collage&quot;,&quot;carousel&quot;],&quot;support_big_font&quot;:false,&quot;picture_toward&quot;:0,&quot;picture_dockside&quot;:[],&quot;fill_id&quot;:&quot;29a3f6b4b2024be784589c4b026fb045&quot;,&quot;fill_align&quot;:&quot;cm&quot;,&quot;chip_types&quot;:[&quot;diagram&quot;,&quot;pictext&quot;,&quot;picture&quot;,&quot;chart&quot;,&quot;table&quot;,&quot;video&quot;]},{&quot;text_align&quot;:&quot;cm&quot;,&quot;text_direction&quot;:&quot;horizontal&quot;,&quot;support_big_font&quot;:false,&quot;picture_toward&quot;:0,&quot;picture_dockside&quot;:[],&quot;fill_id&quot;:&quot;bce1e453f05b4f5f80294233b2dc42ad&quot;,&quot;fill_align&quot;:&quot;cm&quot;,&quot;chip_types&quot;:[&quot;text&quot;]}]]"/>
  <p:tag name="KSO_WM_CHIP_XID" val="5f696410553136823a5e6124"/>
  <p:tag name="FIXED_XID_TMP" val="5f5ee1ca4d6848d78f644aec"/>
  <p:tag name="KSO_WM_CHIP_DECFILLPROP" val="[]"/>
  <p:tag name="KSO_WM_CHIP_GROUPID" val="5f5ee1ca4d6848d78f644aec"/>
  <p:tag name="KSO_WM_SLIDE_BK_DARK_LIGHT" val="2"/>
  <p:tag name="KSO_WM_SLIDE_BACKGROUND_TYPE" val="general"/>
  <p:tag name="KSO_WM_SLIDE_SUPPORT_FEATURE_TYPE" val="3"/>
  <p:tag name="KSO_WM_TEMPLATE_ASSEMBLE_XID" val="60656eb54054ed1e2fb7fe94"/>
  <p:tag name="KSO_WM_TEMPLATE_ASSEMBLE_GROUPID" val="60656eb54054ed1e2fb7fe94"/>
</p:tagLst>
</file>

<file path=ppt/tags/tag133.xml><?xml version="1.0" encoding="utf-8"?>
<p:tagLst xmlns:a="http://schemas.openxmlformats.org/drawingml/2006/main" xmlns:r="http://schemas.openxmlformats.org/officeDocument/2006/relationships" xmlns:p="http://schemas.openxmlformats.org/presentationml/2006/main">
  <p:tag name="KSO_WM_UNIT_BLOCK" val="0"/>
  <p:tag name="KSO_WM_UNIT_HIGHLIGHT" val="0"/>
  <p:tag name="KSO_WM_UNIT_COMPATIBLE" val="0"/>
  <p:tag name="KSO_WM_UNIT_DIAGRAM_ISNUMVISUAL" val="0"/>
  <p:tag name="KSO_WM_UNIT_DIAGRAM_ISREFERUNIT" val="0"/>
  <p:tag name="KSO_WM_UNIT_TYPE" val="i"/>
  <p:tag name="KSO_WM_UNIT_INDEX" val="1"/>
  <p:tag name="KSO_WM_UNIT_ID" val="diagram20213291_1*i*1"/>
  <p:tag name="KSO_WM_TEMPLATE_CATEGORY" val="diagram"/>
  <p:tag name="KSO_WM_TEMPLATE_INDEX" val="20213291"/>
  <p:tag name="KSO_WM_UNIT_LAYERLEVEL" val="1"/>
  <p:tag name="KSO_WM_TAG_VERSION" val="1.0"/>
  <p:tag name="KSO_WM_BEAUTIFY_FLAG" val="#wm#"/>
  <p:tag name="KSO_WM_CHIP_GROUPID" val="5f5ee1ca4d6848d78f644aec"/>
  <p:tag name="KSO_WM_CHIP_XID" val="5f696410553136823a5e6124"/>
  <p:tag name="KSO_WM_UNIT_SM_LIMIT_TYPE" val="4"/>
  <p:tag name="KSO_WM_UNIT_DEC_AREA_ID" val="172a5891535642299de1249e7f98889e"/>
  <p:tag name="KSO_WM_UNIT_DECORATE_INFO" val="{&quot;DecorateInfoH&quot;:{&quot;IsAbs&quot;:false},&quot;DecorateInfoW&quot;:{&quot;IsAbs&quot;:true},&quot;DecorateInfoX&quot;:{&quot;IsAbs&quot;:true,&quot;Pos&quot;:1},&quot;DecorateInfoY&quot;:{&quot;IsAbs&quot;:true,&quot;Pos&quot;:1},&quot;ReferentInfo&quot;:{&quot;Id&quot;:&quot;ea2dc721aba74fb4bb3b032ef7cf0855;06382b53c92942f386ffb7dade7217c5&quot;,&quot;X&quot;:{&quot;Pos&quot;:1},&quot;Y&quot;:{&quot;Pos&quot;:1}},&quot;whChangeMode&quot;:0}"/>
  <p:tag name="KSO_WM_UNIT_FILL_FORE_SCHEMECOLOR_INDEX_BRIGHTNESS" val="0"/>
  <p:tag name="KSO_WM_UNIT_FILL_FORE_SCHEMECOLOR_INDEX" val="16"/>
  <p:tag name="KSO_WM_UNIT_FILL_TYPE" val="1"/>
  <p:tag name="KSO_WM_UNIT_TEXT_FILL_FORE_SCHEMECOLOR_INDEX_BRIGHTNESS" val="0"/>
  <p:tag name="KSO_WM_UNIT_TEXT_FILL_FORE_SCHEMECOLOR_INDEX" val="2"/>
  <p:tag name="KSO_WM_UNIT_TEXT_FILL_TYPE" val="1"/>
  <p:tag name="KSO_WM_UNIT_VALUE" val="816"/>
  <p:tag name="KSO_WM_TEMPLATE_ASSEMBLE_XID" val="60656eb54054ed1e2fb7fe94"/>
  <p:tag name="KSO_WM_TEMPLATE_ASSEMBLE_GROUPID" val="60656eb54054ed1e2fb7fe94"/>
</p:tagLst>
</file>

<file path=ppt/tags/tag134.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30"/>
  <p:tag name="KSO_WM_UNIT_HIGHLIGHT" val="0"/>
  <p:tag name="KSO_WM_UNIT_COMPATIBLE" val="0"/>
  <p:tag name="KSO_WM_UNIT_DIAGRAM_ISNUMVISUAL" val="0"/>
  <p:tag name="KSO_WM_UNIT_DIAGRAM_ISREFERUNIT" val="0"/>
  <p:tag name="KSO_WM_UNIT_TYPE" val="a"/>
  <p:tag name="KSO_WM_UNIT_INDEX" val="1"/>
  <p:tag name="KSO_WM_UNIT_ID" val="diagram20213291_1*a*1"/>
  <p:tag name="KSO_WM_TEMPLATE_CATEGORY" val="diagram"/>
  <p:tag name="KSO_WM_TEMPLATE_INDEX" val="20213291"/>
  <p:tag name="KSO_WM_UNIT_LAYERLEVEL" val="1"/>
  <p:tag name="KSO_WM_TAG_VERSION" val="1.0"/>
  <p:tag name="KSO_WM_BEAUTIFY_FLAG" val="#wm#"/>
  <p:tag name="KSO_WM_UNIT_PRESET_TEXT" val="单击此处添加大标题内容"/>
  <p:tag name="KSO_WM_UNIT_DEFAULT_FONT" val="24;44;4"/>
  <p:tag name="KSO_WM_UNIT_BLOCK" val="0"/>
  <p:tag name="KSO_WM_UNIT_SHOW_EDIT_AREA_INDICATION" val="1"/>
  <p:tag name="KSO_WM_CHIP_GROUPID" val="5e7881253197e252a37019b5"/>
  <p:tag name="KSO_WM_CHIP_XID" val="5e7881253197e252a37019b6"/>
  <p:tag name="KSO_WM_UNIT_DEC_AREA_ID" val="ef5593e842cf451eabe3956ea3afddca"/>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t&quot;,&quot;fill_mode&quot;:&quot;full&quot;,&quot;sacle_strategy&quot;:&quot;smart&quot;}"/>
  <p:tag name="KSO_WM_ASSEMBLE_CHIP_INDEX" val="c623da6ff6e946f3ae99a043a6798c70"/>
  <p:tag name="KSO_WM_UNIT_TEXT_FILL_FORE_SCHEMECOLOR_INDEX_BRIGHTNESS" val="0"/>
  <p:tag name="KSO_WM_UNIT_TEXT_FILL_FORE_SCHEMECOLOR_INDEX" val="13"/>
  <p:tag name="KSO_WM_UNIT_TEXT_FILL_TYPE" val="1"/>
  <p:tag name="KSO_WM_TEMPLATE_ASSEMBLE_XID" val="60656eb54054ed1e2fb7fe94"/>
  <p:tag name="KSO_WM_TEMPLATE_ASSEMBLE_GROUPID" val="60656eb54054ed1e2fb7fe94"/>
</p:tagLst>
</file>

<file path=ppt/tags/tag135.xml><?xml version="1.0" encoding="utf-8"?>
<p:tagLst xmlns:a="http://schemas.openxmlformats.org/drawingml/2006/main" xmlns:r="http://schemas.openxmlformats.org/officeDocument/2006/relationships" xmlns:p="http://schemas.openxmlformats.org/presentationml/2006/main">
  <p:tag name="KSO_WM_UNIT_VALUE" val="846*2876"/>
  <p:tag name="KSO_WM_UNIT_HIGHLIGHT" val="0"/>
  <p:tag name="KSO_WM_UNIT_DIAGRAM_ISNUMVISUAL" val="0"/>
  <p:tag name="KSO_WM_UNIT_DIAGRAM_ISREFERUNIT" val="0"/>
  <p:tag name="KSO_WM_UNIT_TYPE" val="d"/>
  <p:tag name="KSO_WM_UNIT_INDEX" val="1"/>
  <p:tag name="KSO_WM_UNIT_ID" val="diagram20213291_1*d*1"/>
  <p:tag name="KSO_WM_TEMPLATE_CATEGORY" val="diagram"/>
  <p:tag name="KSO_WM_TEMPLATE_INDEX" val="20213291"/>
  <p:tag name="KSO_WM_UNIT_LAYERLEVEL" val="1"/>
  <p:tag name="KSO_WM_TAG_VERSION" val="1.0"/>
  <p:tag name="KSO_WM_BEAUTIFY_FLAG" val="#wm#"/>
  <p:tag name="KSO_WM_CHIP_GROUPID" val="5e7310da9a230a26b9e88a19"/>
  <p:tag name="KSO_WM_CHIP_XID" val="5e7310da9a230a26b9e88a1a"/>
  <p:tag name="KSO_WM_UNIT_DEC_AREA_ID" val="ea2dc721aba74fb4bb3b032ef7cf0855"/>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cm&quot;,&quot;fill_mode&quot;:&quot;full&quot;,&quot;sacle_strategy&quot;:&quot;smart&quot;}"/>
  <p:tag name="KSO_WM_ASSEMBLE_CHIP_INDEX" val="5e9edcd562154dd8bcb4c2dd7591e2ef"/>
  <p:tag name="KSO_WM_UNIT_PLACING_PICTURE" val="5e9edcd562154dd8bcb4c2dd7591e2ef"/>
  <p:tag name="KSO_WM_UNIT_SUPPORT_UNIT_TYPE" val="[&quot;l&quot;,&quot;m&quot;,&quot;n&quot;,&quot;o&quot;,&quot;p&quot;,&quot;q&quot;,&quot;r&quot;,&quot;δ&quot;,&quot;ε&quot;,&quot;ζ&quot;,&quot;η&quot;,&quot;d&quot;,&quot;α&quot;,&quot;β&quot;,&quot;θ&quot;]"/>
  <p:tag name="KSO_WM_TEMPLATE_ASSEMBLE_XID" val="60656eb54054ed1e2fb7fe94"/>
  <p:tag name="KSO_WM_TEMPLATE_ASSEMBLE_GROUPID" val="60656eb54054ed1e2fb7fe94"/>
  <p:tag name="KSO_WM_UNIT_PLACING_PICTURE_USER_VIEWPORT" val="{&quot;height&quot;:3072,&quot;width&quot;:13632}"/>
  <p:tag name="KSO_WM_UNIT_PLACING_PICTURE_INFO" val="{&quot;code&quot;:&quot;A&quot;,&quot;full_picture&quot;:true,&quot;last_full_picture&quot;:&quot;A&quot;,&quot;margin&quot;:{&quot;left&quot;:85.74999450238838,&quot;right&quot;:87.42856447067689},&quot;scheme&quot;:&quot;2-0&quot;,&quot;spacing&quot;:5}"/>
  <p:tag name="KSO_WM_UNIT_PLACING_PICTURE_USER_VIEWPORT_SMARTMENU" val="{&quot;height&quot;:2861.7902993412345,&quot;width&quot;:12856.548449444945}"/>
  <p:tag name="KSO_WM_UNIT_PLACING_PICTURE_USER_RELATIVERECTANGLE_SMARTMENU" val="{&quot;bottom&quot;:0,&quot;left&quot;:0,&quot;right&quot;:0,&quot;top&quot;:0}"/>
</p:tagLst>
</file>

<file path=ppt/tags/tag136.xml><?xml version="1.0" encoding="utf-8"?>
<p:tagLst xmlns:a="http://schemas.openxmlformats.org/drawingml/2006/main" xmlns:r="http://schemas.openxmlformats.org/officeDocument/2006/relationships" xmlns:p="http://schemas.openxmlformats.org/presentationml/2006/main">
  <p:tag name="KSO_WM_UNIT_VALUE" val="846*2876"/>
  <p:tag name="KSO_WM_UNIT_HIGHLIGHT" val="0"/>
  <p:tag name="KSO_WM_UNIT_DIAGRAM_ISNUMVISUAL" val="0"/>
  <p:tag name="KSO_WM_UNIT_DIAGRAM_ISREFERUNIT" val="0"/>
  <p:tag name="KSO_WM_UNIT_TYPE" val="d"/>
  <p:tag name="KSO_WM_UNIT_INDEX" val="1"/>
  <p:tag name="KSO_WM_UNIT_ID" val="diagram20213291_1*d*1"/>
  <p:tag name="KSO_WM_TEMPLATE_CATEGORY" val="diagram"/>
  <p:tag name="KSO_WM_TEMPLATE_INDEX" val="20213291"/>
  <p:tag name="KSO_WM_UNIT_LAYERLEVEL" val="1"/>
  <p:tag name="KSO_WM_TAG_VERSION" val="1.0"/>
  <p:tag name="KSO_WM_BEAUTIFY_FLAG" val="#wm#"/>
  <p:tag name="KSO_WM_CHIP_GROUPID" val="5e7310da9a230a26b9e88a19"/>
  <p:tag name="KSO_WM_CHIP_XID" val="5e7310da9a230a26b9e88a1a"/>
  <p:tag name="KSO_WM_UNIT_DEC_AREA_ID" val="ea2dc721aba74fb4bb3b032ef7cf0855"/>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cm&quot;,&quot;fill_mode&quot;:&quot;full&quot;,&quot;sacle_strategy&quot;:&quot;smart&quot;}"/>
  <p:tag name="KSO_WM_ASSEMBLE_CHIP_INDEX" val="5e9edcd562154dd8bcb4c2dd7591e2ef"/>
  <p:tag name="KSO_WM_UNIT_PLACING_PICTURE" val="5e9edcd562154dd8bcb4c2dd7591e2ef"/>
  <p:tag name="KSO_WM_UNIT_SUPPORT_UNIT_TYPE" val="[&quot;l&quot;,&quot;m&quot;,&quot;n&quot;,&quot;o&quot;,&quot;p&quot;,&quot;q&quot;,&quot;r&quot;,&quot;δ&quot;,&quot;ε&quot;,&quot;ζ&quot;,&quot;η&quot;,&quot;d&quot;,&quot;α&quot;,&quot;β&quot;,&quot;θ&quot;]"/>
  <p:tag name="KSO_WM_TEMPLATE_ASSEMBLE_XID" val="60656eb54054ed1e2fb7fe94"/>
  <p:tag name="KSO_WM_TEMPLATE_ASSEMBLE_GROUPID" val="60656eb54054ed1e2fb7fe94"/>
  <p:tag name="KSO_WM_UNIT_PLACING_PICTURE_USER_VIEWPORT" val="{&quot;height&quot;:1392,&quot;width&quot;:13632}"/>
  <p:tag name="KSO_WM_UNIT_PLACING_PICTURE_INFO" val="{&quot;code&quot;:&quot;A&quot;,&quot;full_picture&quot;:true,&quot;last_full_picture&quot;:&quot;A&quot;,&quot;margin&quot;:{&quot;left&quot;:85.74999450238838,&quot;right&quot;:87.42856447067689},&quot;scheme&quot;:&quot;2-0&quot;,&quot;spacing&quot;:5}"/>
  <p:tag name="KSO_WM_UNIT_PLACING_PICTURE_USER_VIEWPORT_SMARTMENU" val="{&quot;height&quot;:1218.2300864009535,&quot;width&quot;:12856.548449444945}"/>
  <p:tag name="KSO_WM_UNIT_PLACING_PICTURE_USER_RELATIVERECTANGLE_SMARTMENU" val="{&quot;bottom&quot;:0,&quot;left&quot;:0,&quot;right&quot;:0,&quot;top&quot;:0}"/>
</p:tagLst>
</file>

<file path=ppt/tags/tag137.xml><?xml version="1.0" encoding="utf-8"?>
<p:tagLst xmlns:a="http://schemas.openxmlformats.org/drawingml/2006/main" xmlns:r="http://schemas.openxmlformats.org/officeDocument/2006/relationships" xmlns:p="http://schemas.openxmlformats.org/presentationml/2006/main">
  <p:tag name="KSO_WM_UNIT_TEXT_SUBTYPE" val="a"/>
  <p:tag name="KSO_WM_UNIT_SUBTYPE" val="a"/>
  <p:tag name="KSO_WM_UNIT_PRESET_TEXT" val="单击此处添加正文。"/>
  <p:tag name="KSO_WM_UNIT_NOCLEAR" val="0"/>
  <p:tag name="KSO_WM_UNIT_HIGHLIGHT" val="0"/>
  <p:tag name="KSO_WM_UNIT_COMPATIBLE" val="0"/>
  <p:tag name="KSO_WM_UNIT_DIAGRAM_ISNUMVISUAL" val="0"/>
  <p:tag name="KSO_WM_UNIT_DIAGRAM_ISREFERUNIT" val="0"/>
  <p:tag name="KSO_WM_UNIT_TYPE" val="f"/>
  <p:tag name="KSO_WM_UNIT_INDEX" val="1"/>
  <p:tag name="KSO_WM_UNIT_ID" val="diagram20213291_1*f*1"/>
  <p:tag name="KSO_WM_TEMPLATE_CATEGORY" val="diagram"/>
  <p:tag name="KSO_WM_TEMPLATE_INDEX" val="20213291"/>
  <p:tag name="KSO_WM_UNIT_LAYERLEVEL" val="1"/>
  <p:tag name="KSO_WM_TAG_VERSION" val="1.0"/>
  <p:tag name="KSO_WM_BEAUTIFY_FLAG" val="#wm#"/>
  <p:tag name="KSO_WM_UNIT_DEFAULT_FONT" val="14;20;2"/>
  <p:tag name="KSO_WM_UNIT_BLOCK" val="0"/>
  <p:tag name="KSO_WM_UNIT_VALUE" val="80"/>
  <p:tag name="KSO_WM_UNIT_SHOW_EDIT_AREA_INDICATION" val="1"/>
  <p:tag name="KSO_WM_CHIP_GROUPID" val="5e6b05596848fb12bee65ac8"/>
  <p:tag name="KSO_WM_CHIP_XID" val="5e6b05596848fb12bee65aca"/>
  <p:tag name="KSO_WM_UNIT_DEC_AREA_ID" val="06382b53c92942f386ffb7dade7217c5"/>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cm&quot;,&quot;fill_mode&quot;:&quot;full&quot;,&quot;sacle_strategy&quot;:&quot;smart&quot;}"/>
  <p:tag name="KSO_WM_ASSEMBLE_CHIP_INDEX" val="ebe959f502fc4a4b89f46060744a5eaf"/>
  <p:tag name="KSO_WM_UNIT_TEXT_FILL_FORE_SCHEMECOLOR_INDEX_BRIGHTNESS" val="0.25"/>
  <p:tag name="KSO_WM_UNIT_TEXT_FILL_FORE_SCHEMECOLOR_INDEX" val="13"/>
  <p:tag name="KSO_WM_UNIT_TEXT_FILL_TYPE" val="1"/>
  <p:tag name="KSO_WM_TEMPLATE_ASSEMBLE_XID" val="60656eb54054ed1e2fb7fe94"/>
  <p:tag name="KSO_WM_TEMPLATE_ASSEMBLE_GROUPID" val="60656eb54054ed1e2fb7fe94"/>
</p:tagLst>
</file>

<file path=ppt/tags/tag138.xml><?xml version="1.0" encoding="utf-8"?>
<p:tagLst xmlns:a="http://schemas.openxmlformats.org/drawingml/2006/main" xmlns:r="http://schemas.openxmlformats.org/officeDocument/2006/relationships" xmlns:p="http://schemas.openxmlformats.org/presentationml/2006/main">
  <p:tag name="ISLIDE.THEME" val="https://www.islide.cc;"/>
  <p:tag name="KSO_WM_BEAUTIFY_FLAG" val="#wm#"/>
  <p:tag name="KSO_WM_TEMPLATE_CATEGORY" val="diagram"/>
  <p:tag name="KSO_WM_TEMPLATE_INDEX" val="20207013"/>
  <p:tag name="KSO_WM_SLIDE_LAYOUT_INFO" val="{&quot;backgroundInfo&quot;:[{&quot;bottom&quot;:0,&quot;bottomAbs&quot;:false,&quot;left&quot;:0,&quot;leftAbs&quot;:false,&quot;right&quot;:0,&quot;rightAbs&quot;:false,&quot;top&quot;:0,&quot;topAbs&quot;:false,&quot;type&quot;:&quot;general&quot;}],&quot;id&quot;:&quot;2021-04-01T14:55:30&quot;,&quot;maxSize&quot;:{&quot;size1&quot;:22.2},&quot;minSize&quot;:{&quot;size1&quot;:22.2},&quot;normalSize&quot;:{&quot;size1&quot;:22.2},&quot;subLayout&quot;:[{&quot;id&quot;:&quot;2021-04-01T14:55:30&quot;,&quot;margin&quot;:{&quot;bottom&quot;:0.847000002861023,&quot;left&quot;:1.6929999589920044,&quot;right&quot;:1.6929999589920044,&quot;top&quot;:1.6929999589920044},&quot;type&quot;:0},{&quot;direction&quot;:1,&quot;id&quot;:&quot;2021-04-01T14:55:30&quot;,&quot;maxSize&quot;:{&quot;size1&quot;:66.2996307665909},&quot;minSize&quot;:{&quot;size1&quot;:57.499630766590904},&quot;normalSize&quot;:{&quot;size1&quot;:64.3746307665909},&quot;subLayout&quot;:[{&quot;id&quot;:&quot;2021-04-01T14:55:30&quot;,&quot;margin&quot;:{&quot;bottom&quot;:2.5399999618530273,&quot;left&quot;:2.5399999618530273,&quot;right&quot;:0.847000002861023,&quot;top&quot;:0.847000002861023},&quot;type&quot;:0},{&quot;id&quot;:&quot;2021-04-01T14:55:30&quot;,&quot;margin&quot;:{&quot;bottom&quot;:1.6929999589920044,&quot;left&quot;:1.2699999809265137,&quot;right&quot;:1.6929999589920044,&quot;top&quot;:0},&quot;type&quot;:0}],&quot;type&quot;:0}],&quot;type&quot;:0}"/>
  <p:tag name="KSO_WM_SLIDE_BACKGROUND" val="[&quot;general&quot;]"/>
  <p:tag name="KSO_WM_SLIDE_RATIO" val="1.777778"/>
  <p:tag name="KSO_WM_CHIP_INFOS" val="{&quot;type&quot;:0,&quot;layout_type&quot;:&quot;topbottom&quot;,&quot;layout_feature&quot;:1,&quot;aspect_ratio&quot;:&quot;16:9&quot;,&quot;same_font_size&quot;:false,&quot;diagram&quot;:{&quot;type&quot;:[],&quot;direction&quot;:0,&quot;isSupportDecBetweenItems&quot;:false},&quot;tags&quot;:{&quot;style&quot;:[&quot;商务&quot;,&quot;简约&quot;,&quot;文艺清新&quot;,&quot;中国风&quot;,&quot;卡通&quot;,&quot;欧美风&quot;,&quot;黑板风&quot;,&quot;渐变风&quot;,&quot;党政风&quot;]},&quot;slide_type&quot;:[&quot;text&quot;]}"/>
  <p:tag name="KSO_WM_CHIP_XID" val="5e71eac547edf80c4a5df192"/>
  <p:tag name="KSO_WM_SLIDE_CAN_ADD_NAVIGATION" val="1"/>
  <p:tag name="KSO_WM_SLIDE_ID" val="diagram20207013_1"/>
  <p:tag name="KSO_WM_TEMPLATE_SUBCATEGORY" val="21"/>
  <p:tag name="KSO_WM_TEMPLATE_MASTER_TYPE" val="0"/>
  <p:tag name="KSO_WM_TEMPLATE_COLOR_TYPE" val="1"/>
  <p:tag name="KSO_WM_SLIDE_TYPE" val="text"/>
  <p:tag name="KSO_WM_SLIDE_SUBTYPE" val="picTxt"/>
  <p:tag name="KSO_WM_SLIDE_ITEM_CNT" val="0"/>
  <p:tag name="KSO_WM_SLIDE_INDEX" val="1"/>
  <p:tag name="KSO_WM_SLIDE_SIZE" val="864*444"/>
  <p:tag name="KSO_WM_SLIDE_POSITION" val="48*48"/>
  <p:tag name="KSO_WM_TAG_VERSION" val="1.0"/>
  <p:tag name="KSO_WM_CHIP_FILLPROP" val="[[{&quot;text_align&quot;:&quot;lb&quot;,&quot;text_direction&quot;:&quot;horizontal&quot;,&quot;support_big_font&quot;:false,&quot;fill_id&quot;:&quot;13764482d0b94c3797cd92679777cb6d&quot;,&quot;fill_align&quot;:&quot;lb&quot;,&quot;chip_types&quot;:[&quot;header&quot;]},{&quot;text_align&quot;:&quot;lm&quot;,&quot;text_direction&quot;:&quot;horizontal&quot;,&quot;support_big_font&quot;:false,&quot;fill_id&quot;:&quot;0c7aeec11ac7457eb4d583c52a0ae3d5&quot;,&quot;fill_align&quot;:&quot;lm&quot;,&quot;chip_types&quot;:[&quot;diagram&quot;,&quot;pictext&quot;,&quot;picture&quot;,&quot;chart&quot;,&quot;table&quot;,&quot;video&quot;]},{&quot;text_align&quot;:&quot;lm&quot;,&quot;text_direction&quot;:&quot;horizontal&quot;,&quot;support_big_font&quot;:true,&quot;fill_id&quot;:&quot;95d2289085634f659fb9ea746d7af990&quot;,&quot;fill_align&quot;:&quot;lm&quot;,&quot;chip_types&quot;:[&quot;text&quot;]}]]"/>
  <p:tag name="KSO_WM_SLIDE_LAYOUT" val="a_d_f"/>
  <p:tag name="KSO_WM_SLIDE_LAYOUT_CNT" val="1_1_1"/>
  <p:tag name="KSO_WM_CHIP_GROUPID" val="5e71eac547edf80c4a5df191"/>
  <p:tag name="KSO_WM_CHIP_DECFILLPROP" val="[]"/>
  <p:tag name="KSO_WM_SLIDE_BK_DARK_LIGHT" val="2"/>
  <p:tag name="KSO_WM_SLIDE_BACKGROUND_TYPE" val="general"/>
  <p:tag name="KSO_WM_SLIDE_SUPPORT_FEATURE_TYPE" val="0"/>
  <p:tag name="KSO_WM_TEMPLATE_ASSEMBLE_XID" val="60656e624054ed1e2fb7f786"/>
  <p:tag name="KSO_WM_TEMPLATE_ASSEMBLE_GROUPID" val="60656e624054ed1e2fb7f786"/>
</p:tagLst>
</file>

<file path=ppt/tags/tag139.xml><?xml version="1.0" encoding="utf-8"?>
<p:tagLst xmlns:a="http://schemas.openxmlformats.org/drawingml/2006/main" xmlns:r="http://schemas.openxmlformats.org/officeDocument/2006/relationships" xmlns:p="http://schemas.openxmlformats.org/presentationml/2006/main">
  <p:tag name="KSO_WM_UNIT_BLOCK" val="0"/>
  <p:tag name="KSO_WM_UNIT_SM_LIMIT_TYPE" val="2"/>
  <p:tag name="KSO_WM_UNIT_DEC_AREA_ID" val="b8c8656694d240b4ba110191127d7834"/>
  <p:tag name="KSO_WM_UNIT_HIGHLIGHT" val="0"/>
  <p:tag name="KSO_WM_UNIT_COMPATIBLE" val="0"/>
  <p:tag name="KSO_WM_UNIT_DIAGRAM_ISNUMVISUAL" val="0"/>
  <p:tag name="KSO_WM_UNIT_DIAGRAM_ISREFERUNIT" val="0"/>
  <p:tag name="KSO_WM_UNIT_TYPE" val="i"/>
  <p:tag name="KSO_WM_UNIT_INDEX" val="1"/>
  <p:tag name="KSO_WM_UNIT_ID" val="diagram20207013_1*i*1"/>
  <p:tag name="KSO_WM_TEMPLATE_CATEGORY" val="diagram"/>
  <p:tag name="KSO_WM_TEMPLATE_INDEX" val="20207013"/>
  <p:tag name="KSO_WM_UNIT_LAYERLEVEL" val="1"/>
  <p:tag name="KSO_WM_TAG_VERSION" val="1.0"/>
  <p:tag name="KSO_WM_BEAUTIFY_FLAG" val="#wm#"/>
  <p:tag name="KSO_WM_UNIT_DECORATE_INFO" val="{&quot;DecorateInfoH&quot;:{&quot;IsAbs&quot;:true},&quot;DecorateInfoW&quot;:{&quot;IsAbs&quot;:true},&quot;DecorateInfoX&quot;:{&quot;IsAbs&quot;:true,&quot;Pos&quot;:1},&quot;DecorateInfoY&quot;:{&quot;IsAbs&quot;:true,&quot;Pos&quot;:1},&quot;ReferentInfo&quot;:{&quot;Id&quot;:&quot;4854863efa354bfa9114489636c1a872&quot;,&quot;X&quot;:{&quot;Pos&quot;:1},&quot;Y&quot;:{&quot;Pos&quot;:1}},&quot;whChangeMode&quot;:0}"/>
  <p:tag name="KSO_WM_CHIP_GROUPID" val="5e71eac547edf80c4a5df191"/>
  <p:tag name="KSO_WM_CHIP_XID" val="5e71eac547edf80c4a5df192"/>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 name="KSO_WM_UNIT_VALUE" val="476"/>
  <p:tag name="KSO_WM_TEMPLATE_ASSEMBLE_XID" val="60656e624054ed1e2fb7f786"/>
  <p:tag name="KSO_WM_TEMPLATE_ASSEMBLE_GROUPID" val="60656e624054ed1e2fb7f786"/>
</p:tagLst>
</file>

<file path=ppt/tags/tag1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5_1"/>
  <p:tag name="KSO_WM_UNIT_ID" val="diagram20218393_5*l_h_i*1_5_1"/>
  <p:tag name="KSO_WM_TEMPLATE_CATEGORY" val="diagram"/>
  <p:tag name="KSO_WM_TEMPLATE_INDEX" val="20218393"/>
  <p:tag name="KSO_WM_UNIT_LAYERLEVEL" val="1_1_1"/>
  <p:tag name="KSO_WM_TAG_VERSION" val="1.0"/>
  <p:tag name="KSO_WM_BEAUTIFY_FLAG" val="#wm#"/>
  <p:tag name="KSO_WM_UNIT_FILL_FORE_SCHEMECOLOR_INDEX_BRIGHTNESS" val="0"/>
  <p:tag name="KSO_WM_UNIT_FILL_FORE_SCHEMECOLOR_INDEX" val="9"/>
  <p:tag name="KSO_WM_UNIT_FILL_TYPE" val="1"/>
  <p:tag name="KSO_WM_UNIT_TEXT_FILL_FORE_SCHEMECOLOR_INDEX_BRIGHTNESS" val="0"/>
  <p:tag name="KSO_WM_UNIT_TEXT_FILL_FORE_SCHEMECOLOR_INDEX" val="2"/>
  <p:tag name="KSO_WM_UNIT_TEXT_FILL_TYPE" val="1"/>
  <p:tag name="KSO_WM_UNIT_USESOURCEFORMAT_APPLY" val="1"/>
</p:tagLst>
</file>

<file path=ppt/tags/tag140.xml><?xml version="1.0" encoding="utf-8"?>
<p:tagLst xmlns:a="http://schemas.openxmlformats.org/drawingml/2006/main" xmlns:r="http://schemas.openxmlformats.org/officeDocument/2006/relationships" xmlns:p="http://schemas.openxmlformats.org/presentationml/2006/main">
  <p:tag name="KSO_WM_UNIT_BLOCK" val="0"/>
  <p:tag name="KSO_WM_UNIT_SM_LIMIT_TYPE" val="0"/>
  <p:tag name="KSO_WM_UNIT_DEC_AREA_ID" val="e05da9e5f4bf473198d896c9a6da5a31"/>
  <p:tag name="KSO_WM_UNIT_HIGHLIGHT" val="0"/>
  <p:tag name="KSO_WM_UNIT_COMPATIBLE" val="0"/>
  <p:tag name="KSO_WM_UNIT_DIAGRAM_ISNUMVISUAL" val="0"/>
  <p:tag name="KSO_WM_UNIT_DIAGRAM_ISREFERUNIT" val="0"/>
  <p:tag name="KSO_WM_UNIT_TYPE" val="i"/>
  <p:tag name="KSO_WM_UNIT_INDEX" val="2"/>
  <p:tag name="KSO_WM_UNIT_ID" val="diagram20207013_1*i*2"/>
  <p:tag name="KSO_WM_TEMPLATE_CATEGORY" val="diagram"/>
  <p:tag name="KSO_WM_TEMPLATE_INDEX" val="20207013"/>
  <p:tag name="KSO_WM_UNIT_LAYERLEVEL" val="1"/>
  <p:tag name="KSO_WM_TAG_VERSION" val="1.0"/>
  <p:tag name="KSO_WM_BEAUTIFY_FLAG" val="#wm#"/>
  <p:tag name="KSO_WM_UNIT_DECORATE_INFO" val="{&quot;DecorateInfoH&quot;:{&quot;IsAbs&quot;:true},&quot;DecorateInfoW&quot;:{&quot;IsAbs&quot;:true},&quot;DecorateInfoX&quot;:{&quot;IsAbs&quot;:true,&quot;Pos&quot;:2},&quot;DecorateInfoY&quot;:{&quot;IsAbs&quot;:true,&quot;Pos&quot;:2},&quot;ReferentInfo&quot;:{&quot;Id&quot;:&quot;b8c8656694d240b4ba110191127d7834&quot;,&quot;X&quot;:{&quot;Pos&quot;:2},&quot;Y&quot;:{&quot;Pos&quot;:2}},&quot;whChangeMode&quot;:0}"/>
  <p:tag name="KSO_WM_CHIP_GROUPID" val="5e71eac547edf80c4a5df191"/>
  <p:tag name="KSO_WM_CHIP_XID" val="5e71eac547edf80c4a5df192"/>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 name="KSO_WM_UNIT_VALUE" val="9"/>
  <p:tag name="KSO_WM_TEMPLATE_ASSEMBLE_XID" val="60656e624054ed1e2fb7f786"/>
  <p:tag name="KSO_WM_TEMPLATE_ASSEMBLE_GROUPID" val="60656e624054ed1e2fb7f786"/>
</p:tagLst>
</file>

<file path=ppt/tags/tag141.xml><?xml version="1.0" encoding="utf-8"?>
<p:tagLst xmlns:a="http://schemas.openxmlformats.org/drawingml/2006/main" xmlns:r="http://schemas.openxmlformats.org/officeDocument/2006/relationships" xmlns:p="http://schemas.openxmlformats.org/presentationml/2006/main">
  <p:tag name="KSO_WM_UNIT_BLOCK" val="0"/>
  <p:tag name="KSO_WM_UNIT_SM_LIMIT_TYPE" val="0"/>
  <p:tag name="KSO_WM_UNIT_DEC_AREA_ID" val="96eaafc250d44c138092ad01fd2c6b1b"/>
  <p:tag name="KSO_WM_UNIT_HIGHLIGHT" val="0"/>
  <p:tag name="KSO_WM_UNIT_COMPATIBLE" val="0"/>
  <p:tag name="KSO_WM_UNIT_DIAGRAM_ISNUMVISUAL" val="0"/>
  <p:tag name="KSO_WM_UNIT_DIAGRAM_ISREFERUNIT" val="0"/>
  <p:tag name="KSO_WM_UNIT_TYPE" val="i"/>
  <p:tag name="KSO_WM_UNIT_INDEX" val="3"/>
  <p:tag name="KSO_WM_UNIT_ID" val="diagram20207013_1*i*3"/>
  <p:tag name="KSO_WM_TEMPLATE_CATEGORY" val="diagram"/>
  <p:tag name="KSO_WM_TEMPLATE_INDEX" val="20207013"/>
  <p:tag name="KSO_WM_UNIT_LAYERLEVEL" val="1"/>
  <p:tag name="KSO_WM_TAG_VERSION" val="1.0"/>
  <p:tag name="KSO_WM_BEAUTIFY_FLAG" val="#wm#"/>
  <p:tag name="KSO_WM_UNIT_DECORATE_INFO" val="{&quot;DecorateInfoH&quot;:{&quot;IsAbs&quot;:true},&quot;DecorateInfoW&quot;:{&quot;IsAbs&quot;:true},&quot;DecorateInfoX&quot;:{&quot;IsAbs&quot;:true,&quot;Pos&quot;:0},&quot;DecorateInfoY&quot;:{&quot;IsAbs&quot;:true,&quot;Pos&quot;:0},&quot;ReferentInfo&quot;:{&quot;Id&quot;:&quot;b8c8656694d240b4ba110191127d7834&quot;,&quot;X&quot;:{&quot;Pos&quot;:0},&quot;Y&quot;:{&quot;Pos&quot;:0}},&quot;whChangeMode&quot;:0}"/>
  <p:tag name="KSO_WM_CHIP_GROUPID" val="5e71eac547edf80c4a5df191"/>
  <p:tag name="KSO_WM_CHIP_XID" val="5e71eac547edf80c4a5df192"/>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 name="KSO_WM_UNIT_VALUE" val="9"/>
  <p:tag name="KSO_WM_TEMPLATE_ASSEMBLE_XID" val="60656e624054ed1e2fb7f786"/>
  <p:tag name="KSO_WM_TEMPLATE_ASSEMBLE_GROUPID" val="60656e624054ed1e2fb7f786"/>
</p:tagLst>
</file>

<file path=ppt/tags/tag142.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30"/>
  <p:tag name="KSO_WM_UNIT_HIGHLIGHT" val="0"/>
  <p:tag name="KSO_WM_UNIT_COMPATIBLE" val="0"/>
  <p:tag name="KSO_WM_UNIT_DIAGRAM_ISNUMVISUAL" val="0"/>
  <p:tag name="KSO_WM_UNIT_DIAGRAM_ISREFERUNIT" val="0"/>
  <p:tag name="KSO_WM_UNIT_TYPE" val="a"/>
  <p:tag name="KSO_WM_UNIT_INDEX" val="1"/>
  <p:tag name="KSO_WM_UNIT_ID" val="diagram20207013_1*a*1"/>
  <p:tag name="KSO_WM_TEMPLATE_CATEGORY" val="diagram"/>
  <p:tag name="KSO_WM_TEMPLATE_INDEX" val="20207013"/>
  <p:tag name="KSO_WM_UNIT_LAYERLEVEL" val="1"/>
  <p:tag name="KSO_WM_TAG_VERSION" val="1.0"/>
  <p:tag name="KSO_WM_BEAUTIFY_FLAG" val="#wm#"/>
  <p:tag name="KSO_WM_UNIT_PRESET_TEXT" val="单击此处添加大标题内容"/>
  <p:tag name="KSO_WM_UNIT_DEFAULT_FONT" val="24;44;4"/>
  <p:tag name="KSO_WM_UNIT_BLOCK" val="0"/>
  <p:tag name="KSO_WM_UNIT_SHOW_EDIT_AREA_INDICATION" val="1"/>
  <p:tag name="KSO_WM_CHIP_GROUPID" val="5e7881253197e252a37019b5"/>
  <p:tag name="KSO_WM_CHIP_XID" val="5e7881253197e252a37019b6"/>
  <p:tag name="KSO_WM_UNIT_DEC_AREA_ID" val="48e68b0c9a1d4da68f599481acce4d05"/>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b&quot;,&quot;fill_mode&quot;:&quot;full&quot;,&quot;sacle_strategy&quot;:&quot;smart&quot;}"/>
  <p:tag name="KSO_WM_ASSEMBLE_CHIP_INDEX" val="21e14b6e90e744d5933f02ffd17c1a88"/>
  <p:tag name="KSO_WM_UNIT_TEXT_FILL_FORE_SCHEMECOLOR_INDEX_BRIGHTNESS" val="0"/>
  <p:tag name="KSO_WM_UNIT_TEXT_FILL_FORE_SCHEMECOLOR_INDEX" val="13"/>
  <p:tag name="KSO_WM_UNIT_TEXT_FILL_TYPE" val="1"/>
  <p:tag name="KSO_WM_TEMPLATE_ASSEMBLE_XID" val="60656e624054ed1e2fb7f786"/>
  <p:tag name="KSO_WM_TEMPLATE_ASSEMBLE_GROUPID" val="60656e624054ed1e2fb7f786"/>
</p:tagLst>
</file>

<file path=ppt/tags/tag143.xml><?xml version="1.0" encoding="utf-8"?>
<p:tagLst xmlns:a="http://schemas.openxmlformats.org/drawingml/2006/main" xmlns:r="http://schemas.openxmlformats.org/officeDocument/2006/relationships" xmlns:p="http://schemas.openxmlformats.org/presentationml/2006/main">
  <p:tag name="KSO_WM_UNIT_TABLE_BEAUTIFY" val="smartTable{3ee6f638-9fb0-4628-8c6e-5205056f00d6}"/>
  <p:tag name="KSO_WM_BEAUTIFY_FLAG" val="#wm#"/>
  <p:tag name="KSO_WM_UNIT_TYPE" val="β"/>
  <p:tag name="TABLE_ENDDRAG_ORIGIN_RECT" val="350*283"/>
  <p:tag name="TABLE_ENDDRAG_RECT" val="189*186*350*283"/>
</p:tagLst>
</file>

<file path=ppt/tags/tag144.xml><?xml version="1.0" encoding="utf-8"?>
<p:tagLst xmlns:a="http://schemas.openxmlformats.org/drawingml/2006/main" xmlns:r="http://schemas.openxmlformats.org/officeDocument/2006/relationships" xmlns:p="http://schemas.openxmlformats.org/presentationml/2006/main">
  <p:tag name="KSO_WM_UNIT_TEXT_SUBTYPE" val="a"/>
  <p:tag name="KSO_WM_UNIT_SUBTYPE" val="a"/>
  <p:tag name="KSO_WM_UNIT_PRESET_TEXT" val="单击此处添加正文，文字是您思想的提炼，为了演示发布的良好效果，请言简意赅的阐述您的观点。您的内容已经简明扼要。"/>
  <p:tag name="KSO_WM_UNIT_NOCLEAR" val="0"/>
  <p:tag name="KSO_WM_UNIT_HIGHLIGHT" val="0"/>
  <p:tag name="KSO_WM_UNIT_COMPATIBLE" val="0"/>
  <p:tag name="KSO_WM_UNIT_DIAGRAM_ISNUMVISUAL" val="0"/>
  <p:tag name="KSO_WM_UNIT_DIAGRAM_ISREFERUNIT" val="0"/>
  <p:tag name="KSO_WM_UNIT_TYPE" val="f"/>
  <p:tag name="KSO_WM_UNIT_INDEX" val="1"/>
  <p:tag name="KSO_WM_UNIT_ID" val="diagram20207013_1*f*1"/>
  <p:tag name="KSO_WM_TEMPLATE_CATEGORY" val="diagram"/>
  <p:tag name="KSO_WM_TEMPLATE_INDEX" val="20207013"/>
  <p:tag name="KSO_WM_UNIT_LAYERLEVEL" val="1"/>
  <p:tag name="KSO_WM_TAG_VERSION" val="1.0"/>
  <p:tag name="KSO_WM_BEAUTIFY_FLAG" val="#wm#"/>
  <p:tag name="KSO_WM_UNIT_DEFAULT_FONT" val="14;20;2"/>
  <p:tag name="KSO_WM_UNIT_BLOCK" val="0"/>
  <p:tag name="KSO_WM_UNIT_VALUE" val="64"/>
  <p:tag name="KSO_WM_UNIT_SHOW_EDIT_AREA_INDICATION" val="1"/>
  <p:tag name="KSO_WM_CHIP_GROUPID" val="5e6b05596848fb12bee65ac8"/>
  <p:tag name="KSO_WM_CHIP_XID" val="5e6b05596848fb12bee65aca"/>
  <p:tag name="KSO_WM_UNIT_DEC_AREA_ID" val="1eaba8d016bd413c9d1f471d2754ab08"/>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m&quot;,&quot;fill_mode&quot;:&quot;full&quot;,&quot;sacle_strategy&quot;:&quot;smart&quot;}"/>
  <p:tag name="KSO_WM_ASSEMBLE_CHIP_INDEX" val="bb51383fb35d47aa89b3754a35eb3504"/>
  <p:tag name="KSO_WM_UNIT_SUPPORT_BIG_FONT" val="1"/>
  <p:tag name="KSO_WM_UNIT_TEXT_FILL_FORE_SCHEMECOLOR_INDEX_BRIGHTNESS" val="0.25"/>
  <p:tag name="KSO_WM_UNIT_TEXT_FILL_FORE_SCHEMECOLOR_INDEX" val="13"/>
  <p:tag name="KSO_WM_UNIT_TEXT_FILL_TYPE" val="1"/>
  <p:tag name="KSO_WM_TEMPLATE_ASSEMBLE_XID" val="60656e624054ed1e2fb7f786"/>
  <p:tag name="KSO_WM_TEMPLATE_ASSEMBLE_GROUPID" val="60656e624054ed1e2fb7f786"/>
</p:tagLst>
</file>

<file path=ppt/tags/tag145.xml><?xml version="1.0" encoding="utf-8"?>
<p:tagLst xmlns:a="http://schemas.openxmlformats.org/drawingml/2006/main" xmlns:r="http://schemas.openxmlformats.org/officeDocument/2006/relationships" xmlns:p="http://schemas.openxmlformats.org/presentationml/2006/main">
  <p:tag name="ISLIDE.THEME" val="https://www.islide.cc;"/>
  <p:tag name="KSO_WM_SLIDE_ID" val="diagram20212890_1"/>
  <p:tag name="KSO_WM_TEMPLATE_SUBCATEGORY" val="21"/>
  <p:tag name="KSO_WM_TEMPLATE_MASTER_TYPE" val="0"/>
  <p:tag name="KSO_WM_TEMPLATE_COLOR_TYPE" val="1"/>
  <p:tag name="KSO_WM_SLIDE_TYPE" val="text"/>
  <p:tag name="KSO_WM_SLIDE_SUBTYPE" val="picTxt"/>
  <p:tag name="KSO_WM_SLIDE_ITEM_CNT" val="0"/>
  <p:tag name="KSO_WM_SLIDE_INDEX" val="1"/>
  <p:tag name="KSO_WM_SLIDE_SIZE" val="864*444"/>
  <p:tag name="KSO_WM_SLIDE_POSITION" val="48*48"/>
  <p:tag name="KSO_WM_TAG_VERSION" val="1.0"/>
  <p:tag name="KSO_WM_BEAUTIFY_FLAG" val="#wm#"/>
  <p:tag name="KSO_WM_TEMPLATE_CATEGORY" val="diagram"/>
  <p:tag name="KSO_WM_TEMPLATE_INDEX" val="20212890"/>
  <p:tag name="KSO_WM_SLIDE_LAYOUT" val="a_d"/>
  <p:tag name="KSO_WM_SLIDE_LAYOUT_CNT" val="1_1"/>
  <p:tag name="KSO_WM_SLIDE_LAYOUT_INFO" val="{&quot;backgroundInfo&quot;:[{&quot;bottom&quot;:0,&quot;bottomAbs&quot;:false,&quot;left&quot;:0,&quot;leftAbs&quot;:false,&quot;right&quot;:0,&quot;rightAbs&quot;:false,&quot;top&quot;:0,&quot;topAbs&quot;:false,&quot;type&quot;:&quot;general&quot;}],&quot;id&quot;:&quot;2021-04-01T15:23:42&quot;,&quot;maxSize&quot;:{&quot;size1&quot;:31.1},&quot;minSize&quot;:{&quot;size1&quot;:20.1},&quot;normalSize&quot;:{&quot;size1&quot;:20.1},&quot;subLayout&quot;:[{&quot;id&quot;:&quot;2021-04-01T15:23:42&quot;,&quot;margin&quot;:{&quot;bottom&quot;:0.0260000042617321,&quot;left&quot;:1.6929999589920044,&quot;right&quot;:1.6929999589920044,&quot;top&quot;:1.6929999589920044},&quot;type&quot;:0},{&quot;id&quot;:&quot;2021-04-01T15:23:42&quot;,&quot;margin&quot;:{&quot;bottom&quot;:1.6929999589920044,&quot;left&quot;:1.6929999589920044,&quot;right&quot;:1.6929999589920044,&quot;top&quot;:0.8199999928474426},&quot;type&quot;:0}],&quot;type&quot;:0}"/>
  <p:tag name="KSO_WM_SLIDE_BACKGROUND" val="[&quot;general&quot;]"/>
  <p:tag name="KSO_WM_SLIDE_RATIO" val="1.777778"/>
  <p:tag name="KSO_WM_CHIP_INFOS" val="{&quot;type&quot;:0,&quot;layout_type&quot;:&quot;topbottom&quot;,&quot;layout_feature&quot;:1,&quot;aspect_ratio&quot;:&quot;16:9&quot;,&quot;same_font_size&quot;:false,&quot;diagram&quot;:{&quot;type&quot;:[],&quot;direction&quot;:0,&quot;isSupportDecBetweenItems&quot;:false},&quot;tags&quot;:{&quot;style&quot;:[&quot;商务&quot;,&quot;简约&quot;,&quot;文艺清新&quot;,&quot;中国风&quot;,&quot;卡通&quot;,&quot;欧美风&quot;,&quot;黑板风&quot;,&quot;渐变风&quot;,&quot;党政风&quot;]},&quot;slide_type&quot;:[&quot;text&quot;]}"/>
  <p:tag name="KSO_WM_CHIP_XID" val="5f6d96349c98c299aacc02c7"/>
  <p:tag name="KSO_WM_CHIP_FILLPROP" val="[[{&quot;text_align&quot;:&quot;lm&quot;,&quot;text_direction&quot;:&quot;horizontal&quot;,&quot;support_big_font&quot;:false,&quot;picture_toward&quot;:0,&quot;picture_dockside&quot;:[],&quot;fill_id&quot;:&quot;511b1c75f1234b9e8830a0fc8507d58d&quot;,&quot;fill_align&quot;:&quot;lm&quot;,&quot;chip_types&quot;:[&quot;text&quot;,&quot;header&quot;]},{&quot;text_align&quot;:&quot;lm&quot;,&quot;text_direction&quot;:&quot;horizontal&quot;,&quot;support_features&quot;:[&quot;collage&quot;,&quot;carousel&quot;],&quot;support_big_font&quot;:false,&quot;picture_toward&quot;:0,&quot;picture_dockside&quot;:[],&quot;fill_id&quot;:&quot;f59f3e6f069b43bf81b59d708180a1f2&quot;,&quot;fill_align&quot;:&quot;cm&quot;,&quot;chip_types&quot;:[&quot;diagram&quot;,&quot;text&quot;,&quot;picture&quot;,&quot;chart&quot;,&quot;table&quot;,&quot;video&quot;]}]]"/>
  <p:tag name="KSO_WM_CHIP_DECFILLPROP" val="[]"/>
  <p:tag name="KSO_WM_SLIDE_CAN_ADD_NAVIGATION" val="1"/>
  <p:tag name="KSO_WM_CHIP_GROUPID" val="5f6c93987b7ee298d401b017"/>
  <p:tag name="KSO_WM_SLIDE_BK_DARK_LIGHT" val="2"/>
  <p:tag name="KSO_WM_SLIDE_BACKGROUND_TYPE" val="general"/>
  <p:tag name="KSO_WM_SLIDE_SUPPORT_FEATURE_TYPE" val="3"/>
  <p:tag name="KSO_WM_TEMPLATE_ASSEMBLE_XID" val="60656efa4054ed1e2fb801af"/>
  <p:tag name="KSO_WM_TEMPLATE_ASSEMBLE_GROUPID" val="60656efa4054ed1e2fb801af"/>
</p:tagLst>
</file>

<file path=ppt/tags/tag146.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24"/>
  <p:tag name="KSO_WM_UNIT_HIGHLIGHT" val="0"/>
  <p:tag name="KSO_WM_UNIT_COMPATIBLE" val="0"/>
  <p:tag name="KSO_WM_UNIT_DIAGRAM_ISNUMVISUAL" val="0"/>
  <p:tag name="KSO_WM_UNIT_DIAGRAM_ISREFERUNIT" val="0"/>
  <p:tag name="KSO_WM_UNIT_TYPE" val="a"/>
  <p:tag name="KSO_WM_UNIT_INDEX" val="1"/>
  <p:tag name="KSO_WM_UNIT_ID" val="diagram20212890_1*a*1"/>
  <p:tag name="KSO_WM_TEMPLATE_CATEGORY" val="diagram"/>
  <p:tag name="KSO_WM_TEMPLATE_INDEX" val="20212890"/>
  <p:tag name="KSO_WM_UNIT_LAYERLEVEL" val="1"/>
  <p:tag name="KSO_WM_TAG_VERSION" val="1.0"/>
  <p:tag name="KSO_WM_BEAUTIFY_FLAG" val="#wm#"/>
  <p:tag name="KSO_WM_UNIT_PRESET_TEXT" val="单击此处添加大标题内容"/>
  <p:tag name="KSO_WM_UNIT_DEFAULT_FONT" val="24;44;4"/>
  <p:tag name="KSO_WM_UNIT_BLOCK" val="0"/>
  <p:tag name="KSO_WM_UNIT_SHOW_EDIT_AREA_INDICATION" val="1"/>
  <p:tag name="KSO_WM_CHIP_GROUPID" val="5e7881253197e252a37019b5"/>
  <p:tag name="KSO_WM_CHIP_XID" val="5e7881253197e252a37019b6"/>
  <p:tag name="KSO_WM_UNIT_DEC_AREA_ID" val="ce40cbed385441cb8bb854fdb404afbc"/>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true},&quot;whChangeMode&quot;:0}"/>
  <p:tag name="KSO_WM_UNIT_SM_LIMIT_TYPE" val="2"/>
  <p:tag name="KSO_WM_CHIP_FILLAREA_FILL_RULE" val="{&quot;fill_align&quot;:&quot;lm&quot;,&quot;fill_mode&quot;:&quot;full&quot;,&quot;sacle_strategy&quot;:&quot;smart&quot;}"/>
  <p:tag name="KSO_WM_ASSEMBLE_CHIP_INDEX" val="0eda5f51e9b2451188f786c5ba476474"/>
  <p:tag name="KSO_WM_UNIT_TEXT_FILL_FORE_SCHEMECOLOR_INDEX_BRIGHTNESS" val="0"/>
  <p:tag name="KSO_WM_UNIT_TEXT_FILL_FORE_SCHEMECOLOR_INDEX" val="13"/>
  <p:tag name="KSO_WM_UNIT_TEXT_FILL_TYPE" val="1"/>
  <p:tag name="KSO_WM_TEMPLATE_ASSEMBLE_XID" val="60656efa4054ed1e2fb801af"/>
  <p:tag name="KSO_WM_TEMPLATE_ASSEMBLE_GROUPID" val="60656efa4054ed1e2fb801af"/>
</p:tagLst>
</file>

<file path=ppt/tags/tag147.xml><?xml version="1.0" encoding="utf-8"?>
<p:tagLst xmlns:a="http://schemas.openxmlformats.org/drawingml/2006/main" xmlns:r="http://schemas.openxmlformats.org/officeDocument/2006/relationships" xmlns:p="http://schemas.openxmlformats.org/presentationml/2006/main">
  <p:tag name="KSO_WM_UNIT_VALUE" val="1269*3046"/>
  <p:tag name="KSO_WM_UNIT_HIGHLIGHT" val="0"/>
  <p:tag name="KSO_WM_UNIT_COMPATIBLE" val="0"/>
  <p:tag name="KSO_WM_UNIT_DIAGRAM_ISNUMVISUAL" val="0"/>
  <p:tag name="KSO_WM_UNIT_DIAGRAM_ISREFERUNIT" val="0"/>
  <p:tag name="KSO_WM_UNIT_TYPE" val="d"/>
  <p:tag name="KSO_WM_UNIT_INDEX" val="1"/>
  <p:tag name="KSO_WM_UNIT_ID" val="diagram20212890_1*d*1"/>
  <p:tag name="KSO_WM_TEMPLATE_CATEGORY" val="diagram"/>
  <p:tag name="KSO_WM_TEMPLATE_INDEX" val="20212890"/>
  <p:tag name="KSO_WM_UNIT_LAYERLEVEL" val="1"/>
  <p:tag name="KSO_WM_TAG_VERSION" val="1.0"/>
  <p:tag name="KSO_WM_BEAUTIFY_FLAG" val="#wm#"/>
  <p:tag name="KSO_WM_CHIP_GROUPID" val="5e7310da9a230a26b9e88a19"/>
  <p:tag name="KSO_WM_CHIP_XID" val="5e7310da9a230a26b9e88a1a"/>
  <p:tag name="KSO_WM_UNIT_DEC_AREA_ID" val="38040424bf5f4cabacb2b5de21c8aaba"/>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cm&quot;,&quot;fill_mode&quot;:&quot;full&quot;,&quot;sacle_strategy&quot;:&quot;smart&quot;}"/>
  <p:tag name="KSO_WM_ASSEMBLE_CHIP_INDEX" val="4627a52f11cf4caa8fa1d02337aec9d3"/>
  <p:tag name="KSO_WM_UNIT_SUPPORT_UNIT_TYPE" val="[&quot;l&quot;,&quot;m&quot;,&quot;n&quot;,&quot;o&quot;,&quot;p&quot;,&quot;q&quot;,&quot;r&quot;,&quot;δ&quot;,&quot;ε&quot;,&quot;ζ&quot;,&quot;η&quot;,&quot;d&quot;,&quot;α&quot;,&quot;β&quot;,&quot;θ&quot;]"/>
  <p:tag name="KSO_WM_TEMPLATE_ASSEMBLE_XID" val="60656efa4054ed1e2fb801af"/>
  <p:tag name="KSO_WM_TEMPLATE_ASSEMBLE_GROUPID" val="60656efa4054ed1e2fb801af"/>
  <p:tag name="KSO_WM_UNIT_PICTURE_CLIP_FLAG" val="0"/>
</p:tagLst>
</file>

<file path=ppt/tags/tag148.xml><?xml version="1.0" encoding="utf-8"?>
<p:tagLst xmlns:a="http://schemas.openxmlformats.org/drawingml/2006/main" xmlns:r="http://schemas.openxmlformats.org/officeDocument/2006/relationships" xmlns:p="http://schemas.openxmlformats.org/presentationml/2006/main">
  <p:tag name="KSO_WM_BEAUTIFY_FLAG" val="#wm#"/>
  <p:tag name="KSO_WM_TEMPLATE_CATEGORY" val="diagram"/>
  <p:tag name="KSO_WM_TEMPLATE_INDEX" val="20212445"/>
  <p:tag name="KSO_WM_SLIDE_ID" val="diagram20212445_1"/>
  <p:tag name="KSO_WM_TEMPLATE_SUBCATEGORY" val="21"/>
  <p:tag name="KSO_WM_TEMPLATE_MASTER_TYPE" val="0"/>
  <p:tag name="KSO_WM_TEMPLATE_COLOR_TYPE" val="1"/>
  <p:tag name="KSO_WM_SLIDE_TYPE" val="text"/>
  <p:tag name="KSO_WM_SLIDE_SUBTYPE" val="picTxt"/>
  <p:tag name="KSO_WM_SLIDE_ITEM_CNT" val="0"/>
  <p:tag name="KSO_WM_SLIDE_INDEX" val="1"/>
  <p:tag name="KSO_WM_TAG_VERSION" val="1.0"/>
  <p:tag name="KSO_WM_SLIDE_LAYOUT" val="a_d"/>
  <p:tag name="KSO_WM_SLIDE_LAYOUT_CNT" val="1_1"/>
  <p:tag name="KSO_WM_TEMPLATE_THUMBS_INDEX" val="1、4、7、12、13、14、15、16、17、18、20、24、25、28、33、36、40、43、44"/>
  <p:tag name="KSO_WM_SLIDE_LAYOUT_INFO" val="{&quot;backgroundInfo&quot;:[{&quot;bottom&quot;:0,&quot;bottomAbs&quot;:false,&quot;left&quot;:0,&quot;leftAbs&quot;:false,&quot;right&quot;:0,&quot;rightAbs&quot;:false,&quot;top&quot;:0,&quot;topAbs&quot;:false,&quot;type&quot;:&quot;general&quot;}],&quot;direction&quot;:1,&quot;id&quot;:&quot;2021-04-01T15:36:40&quot;,&quot;maxSize&quot;:{&quot;size1&quot;:45},&quot;minSize&quot;:{&quot;size1&quot;:45},&quot;normalSize&quot;:{&quot;size1&quot;:45},&quot;subLayout&quot;:[{&quot;id&quot;:&quot;2021-04-01T15:36:40&quot;,&quot;margin&quot;:{&quot;bottom&quot;:8.467000007629395,&quot;left&quot;:2.9629998207092285,&quot;right&quot;:3.809999942779541,&quot;top&quot;:6.7729997634887695},&quot;type&quot;:0},{&quot;id&quot;:&quot;2021-04-01T15:36:40&quot;,&quot;margin&quot;:{&quot;bottom&quot;:4.657000541687012,&quot;left&quot;:0,&quot;right&quot;:5.079999923706055,&quot;top&quot;:4.657000541687012},&quot;type&quot;:0}],&quot;type&quot;:0}"/>
  <p:tag name="KSO_WM_SLIDE_BACKGROUND" val="[&quot;general&quot;]"/>
  <p:tag name="KSO_WM_SLIDE_RATIO" val="1.777778"/>
  <p:tag name="KSO_WM_CHIP_INFOS" val="{&quot;type&quot;:0,&quot;layout_type&quot;:&quot;leftright&quot;,&quot;layout_feature&quot;:1,&quot;aspect_ratio&quot;:&quot;16:9&quot;,&quot;same_font_size&quot;:false,&quot;diagram&quot;:{&quot;type&quot;:[],&quot;direction&quot;:0,&quot;isSupportDecBetweenItems&quot;:false},&quot;tags&quot;:{&quot;style&quot;:[&quot;商务&quot;,&quot;简约&quot;,&quot;文艺清新&quot;,&quot;中国风&quot;,&quot;卡通&quot;,&quot;欧美风&quot;,&quot;黑板风&quot;,&quot;渐变风&quot;,&quot;党政风&quot;]},&quot;slide_type&quot;:[&quot;text&quot;]}"/>
  <p:tag name="KSO_WM_CHIP_FILLPROP" val="[[{&quot;text_align&quot;:&quot;rm&quot;,&quot;text_direction&quot;:&quot;horizontal&quot;,&quot;support_big_font&quot;:true,&quot;fill_id&quot;:&quot;cb509c17ded54b42a5e9a84a0ad13dd5&quot;,&quot;fill_align&quot;:&quot;rm&quot;,&quot;chip_types&quot;:[&quot;header&quot;]},{&quot;text_align&quot;:&quot;lm&quot;,&quot;text_direction&quot;:&quot;horizontal&quot;,&quot;support_features&quot;:[&quot;collage&quot;,&quot;carousel&quot;],&quot;support_big_font&quot;:true,&quot;fill_id&quot;:&quot;e3486b1120c742108a49a661a8c9d9f1&quot;,&quot;fill_align&quot;:&quot;lm&quot;,&quot;chip_types&quot;:[&quot;text&quot;,&quot;picture&quot;,&quot;chart&quot;,&quot;table&quot;]}]]"/>
  <p:tag name="KSO_WM_SLIDE_SIZE" val="960*540"/>
  <p:tag name="KSO_WM_SLIDE_POSITION" val="0*0"/>
  <p:tag name="KSO_WM_CHIP_XID" val="5f229415dda340fd2c9b5869"/>
  <p:tag name="KSO_WM_CHIP_DECFILLPROP" val="[]"/>
  <p:tag name="KSO_WM_CHIP_GROUPID" val="5f229415dda340fd2c9b5868"/>
  <p:tag name="KSO_WM_SLIDE_BK_DARK_LIGHT" val="2"/>
  <p:tag name="KSO_WM_SLIDE_BACKGROUND_TYPE" val="general"/>
  <p:tag name="KSO_WM_SLIDE_SUPPORT_FEATURE_TYPE" val="3"/>
  <p:tag name="KSO_WM_TEMPLATE_ASSEMBLE_XID" val="60656f444054ed1e2fb8068b"/>
  <p:tag name="KSO_WM_TEMPLATE_ASSEMBLE_GROUPID" val="60656f444054ed1e2fb8068b"/>
</p:tagLst>
</file>

<file path=ppt/tags/tag149.xml><?xml version="1.0" encoding="utf-8"?>
<p:tagLst xmlns:a="http://schemas.openxmlformats.org/drawingml/2006/main" xmlns:r="http://schemas.openxmlformats.org/officeDocument/2006/relationships" xmlns:p="http://schemas.openxmlformats.org/presentationml/2006/main">
  <p:tag name="KSO_WM_UNIT_BLOCK" val="0"/>
  <p:tag name="KSO_WM_UNIT_SM_LIMIT_TYPE" val="2"/>
  <p:tag name="KSO_WM_UNIT_DEC_AREA_ID" val="26a9ccf0e73b4d1f84674de5ed0b5c14"/>
  <p:tag name="KSO_WM_UNIT_HIGHLIGHT" val="0"/>
  <p:tag name="KSO_WM_UNIT_COMPATIBLE" val="0"/>
  <p:tag name="KSO_WM_UNIT_DIAGRAM_ISNUMVISUAL" val="0"/>
  <p:tag name="KSO_WM_UNIT_DIAGRAM_ISREFERUNIT" val="0"/>
  <p:tag name="KSO_WM_UNIT_TYPE" val="i"/>
  <p:tag name="KSO_WM_UNIT_INDEX" val="1"/>
  <p:tag name="KSO_WM_UNIT_ID" val="diagram20212445_1*i*1"/>
  <p:tag name="KSO_WM_TEMPLATE_CATEGORY" val="diagram"/>
  <p:tag name="KSO_WM_TEMPLATE_INDEX" val="20212445"/>
  <p:tag name="KSO_WM_UNIT_LAYERLEVEL" val="1"/>
  <p:tag name="KSO_WM_TAG_VERSION" val="1.0"/>
  <p:tag name="KSO_WM_BEAUTIFY_FLAG" val="#wm#"/>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1}"/>
  <p:tag name="KSO_WM_CHIP_GROUPID" val="5f229415dda340fd2c9b5868"/>
  <p:tag name="KSO_WM_CHIP_XID" val="5f229415dda340fd2c9b5869"/>
  <p:tag name="KSO_WM_UNIT_FILL_FORE_SCHEMECOLOR_INDEX_BRIGHTNESS" val="0"/>
  <p:tag name="KSO_WM_UNIT_FILL_FORE_SCHEMECOLOR_INDEX" val="5"/>
  <p:tag name="KSO_WM_UNIT_FILL_BACK_SCHEMECOLOR_INDEX_BRIGHTNESS" val="0"/>
  <p:tag name="KSO_WM_UNIT_FILL_BACK_SCHEMECOLOR_INDEX" val="14"/>
  <p:tag name="KSO_WM_UNIT_FILL_TYPE" val="2"/>
  <p:tag name="KSO_WM_UNIT_TEXT_FILL_FORE_SCHEMECOLOR_INDEX_BRIGHTNESS" val="0"/>
  <p:tag name="KSO_WM_UNIT_TEXT_FILL_FORE_SCHEMECOLOR_INDEX" val="2"/>
  <p:tag name="KSO_WM_UNIT_TEXT_FILL_TYPE" val="1"/>
  <p:tag name="KSO_WM_UNIT_VALUE" val="1325"/>
  <p:tag name="KSO_WM_TEMPLATE_ASSEMBLE_XID" val="60656f444054ed1e2fb8068b"/>
  <p:tag name="KSO_WM_TEMPLATE_ASSEMBLE_GROUPID" val="60656f444054ed1e2fb8068b"/>
</p:tagLst>
</file>

<file path=ppt/tags/tag15.xml><?xml version="1.0" encoding="utf-8"?>
<p:tagLst xmlns:a="http://schemas.openxmlformats.org/drawingml/2006/main" xmlns:r="http://schemas.openxmlformats.org/officeDocument/2006/relationships" xmlns:p="http://schemas.openxmlformats.org/presentationml/2006/main">
  <p:tag name="KSO_WM_UNIT_SUBTYPE" val="a"/>
  <p:tag name="KSO_WM_UNIT_PRESET_TEXT" val="单击此处添加正文内容"/>
  <p:tag name="KSO_WM_UNIT_NOCLEAR" val="0"/>
  <p:tag name="KSO_WM_UNIT_HIGHLIGHT" val="0"/>
  <p:tag name="KSO_WM_UNIT_COMPATIBLE" val="0"/>
  <p:tag name="KSO_WM_UNIT_DIAGRAM_ISNUMVISUAL" val="0"/>
  <p:tag name="KSO_WM_UNIT_DIAGRAM_ISREFERUNIT" val="0"/>
  <p:tag name="KSO_WM_DIAGRAM_GROUP_CODE" val="l1-1"/>
  <p:tag name="KSO_WM_UNIT_TYPE" val="l_h_f"/>
  <p:tag name="KSO_WM_UNIT_INDEX" val="1_6_1"/>
  <p:tag name="KSO_WM_UNIT_ID" val="diagram20218393_5*l_h_f*1_6_1"/>
  <p:tag name="KSO_WM_TEMPLATE_CATEGORY" val="diagram"/>
  <p:tag name="KSO_WM_TEMPLATE_INDEX" val="20218393"/>
  <p:tag name="KSO_WM_UNIT_LAYERLEVEL" val="1_1_1"/>
  <p:tag name="KSO_WM_TAG_VERSION" val="1.0"/>
  <p:tag name="KSO_WM_BEAUTIFY_FLAG" val="#wm#"/>
  <p:tag name="KSO_WM_UNIT_TEXT_FILL_FORE_SCHEMECOLOR_INDEX_BRIGHTNESS" val="0.25"/>
  <p:tag name="KSO_WM_UNIT_TEXT_FILL_FORE_SCHEMECOLOR_INDEX" val="13"/>
  <p:tag name="KSO_WM_UNIT_TEXT_FILL_TYPE" val="1"/>
  <p:tag name="KSO_WM_UNIT_USESOURCEFORMAT_APPLY" val="1"/>
</p:tagLst>
</file>

<file path=ppt/tags/tag150.xml><?xml version="1.0" encoding="utf-8"?>
<p:tagLst xmlns:a="http://schemas.openxmlformats.org/drawingml/2006/main" xmlns:r="http://schemas.openxmlformats.org/officeDocument/2006/relationships" xmlns:p="http://schemas.openxmlformats.org/presentationml/2006/main">
  <p:tag name="KSO_WM_UNIT_BLOCK" val="0"/>
  <p:tag name="KSO_WM_UNIT_SM_LIMIT_TYPE" val="2"/>
  <p:tag name="KSO_WM_UNIT_DEC_AREA_ID" val="7615c596ff1945c3b89be150430fe5cf"/>
  <p:tag name="KSO_WM_UNIT_HIGHLIGHT" val="0"/>
  <p:tag name="KSO_WM_UNIT_COMPATIBLE" val="0"/>
  <p:tag name="KSO_WM_UNIT_DIAGRAM_ISNUMVISUAL" val="0"/>
  <p:tag name="KSO_WM_UNIT_DIAGRAM_ISREFERUNIT" val="0"/>
  <p:tag name="KSO_WM_UNIT_TYPE" val="i"/>
  <p:tag name="KSO_WM_UNIT_INDEX" val="2"/>
  <p:tag name="KSO_WM_UNIT_ID" val="diagram20212445_1*i*2"/>
  <p:tag name="KSO_WM_TEMPLATE_CATEGORY" val="diagram"/>
  <p:tag name="KSO_WM_TEMPLATE_INDEX" val="20212445"/>
  <p:tag name="KSO_WM_UNIT_LAYERLEVEL" val="1"/>
  <p:tag name="KSO_WM_TAG_VERSION" val="1.0"/>
  <p:tag name="KSO_WM_BEAUTIFY_FLAG" val="#wm#"/>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1}"/>
  <p:tag name="KSO_WM_CHIP_GROUPID" val="5f229415dda340fd2c9b5868"/>
  <p:tag name="KSO_WM_CHIP_XID" val="5f229415dda340fd2c9b5869"/>
  <p:tag name="KSO_WM_UNIT_FILL_FORE_SCHEMECOLOR_INDEX_BRIGHTNESS" val="0"/>
  <p:tag name="KSO_WM_UNIT_FILL_FORE_SCHEMECOLOR_INDEX" val="16"/>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 name="KSO_WM_UNIT_VALUE" val="748"/>
  <p:tag name="KSO_WM_TEMPLATE_ASSEMBLE_XID" val="60656f444054ed1e2fb8068b"/>
  <p:tag name="KSO_WM_TEMPLATE_ASSEMBLE_GROUPID" val="60656f444054ed1e2fb8068b"/>
</p:tagLst>
</file>

<file path=ppt/tags/tag151.xml><?xml version="1.0" encoding="utf-8"?>
<p:tagLst xmlns:a="http://schemas.openxmlformats.org/drawingml/2006/main" xmlns:r="http://schemas.openxmlformats.org/officeDocument/2006/relationships" xmlns:p="http://schemas.openxmlformats.org/presentationml/2006/main">
  <p:tag name="KSO_WM_UNIT_BLOCK" val="0"/>
  <p:tag name="KSO_WM_UNIT_SM_LIMIT_TYPE" val="2"/>
  <p:tag name="KSO_WM_UNIT_DEC_AREA_ID" val="c1c9f890d388410a82f6fe44266cbfba"/>
  <p:tag name="KSO_WM_UNIT_HIGHLIGHT" val="0"/>
  <p:tag name="KSO_WM_UNIT_COMPATIBLE" val="0"/>
  <p:tag name="KSO_WM_UNIT_DIAGRAM_ISNUMVISUAL" val="0"/>
  <p:tag name="KSO_WM_UNIT_DIAGRAM_ISREFERUNIT" val="0"/>
  <p:tag name="KSO_WM_UNIT_TYPE" val="i"/>
  <p:tag name="KSO_WM_UNIT_INDEX" val="3"/>
  <p:tag name="KSO_WM_UNIT_ID" val="diagram20212445_1*i*3"/>
  <p:tag name="KSO_WM_TEMPLATE_CATEGORY" val="diagram"/>
  <p:tag name="KSO_WM_TEMPLATE_INDEX" val="20212445"/>
  <p:tag name="KSO_WM_UNIT_LAYERLEVEL" val="1"/>
  <p:tag name="KSO_WM_TAG_VERSION" val="1.0"/>
  <p:tag name="KSO_WM_BEAUTIFY_FLAG" val="#wm#"/>
  <p:tag name="KSO_WM_UNIT_DECORATE_INFO" val="{&quot;DecorateInfoH&quot;:{&quot;IsAbs&quot;:true},&quot;DecorateInfoW&quot;:{&quot;IsAbs&quot;:true},&quot;DecorateInfoX&quot;:{&quot;IsAbs&quot;:true,&quot;Pos&quot;:2},&quot;DecorateInfoY&quot;:{&quot;IsAbs&quot;:true,&quot;Pos&quot;:2},&quot;ReferentInfo&quot;:{&quot;Id&quot;:&quot;90fe68a1a9bd46cbb2c6ab2c275dd4b6&quot;,&quot;X&quot;:{&quot;Pos&quot;:2},&quot;Y&quot;:{&quot;Pos&quot;:2}},&quot;whChangeMode&quot;:0}"/>
  <p:tag name="KSO_WM_CHIP_GROUPID" val="5f229415dda340fd2c9b5868"/>
  <p:tag name="KSO_WM_CHIP_XID" val="5f229415dda340fd2c9b5869"/>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 name="KSO_WM_UNIT_VALUE" val="95"/>
  <p:tag name="KSO_WM_TEMPLATE_ASSEMBLE_XID" val="60656f444054ed1e2fb8068b"/>
  <p:tag name="KSO_WM_TEMPLATE_ASSEMBLE_GROUPID" val="60656f444054ed1e2fb8068b"/>
</p:tagLst>
</file>

<file path=ppt/tags/tag152.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6"/>
  <p:tag name="KSO_WM_UNIT_HIGHLIGHT" val="0"/>
  <p:tag name="KSO_WM_UNIT_COMPATIBLE" val="0"/>
  <p:tag name="KSO_WM_UNIT_DIAGRAM_ISNUMVISUAL" val="0"/>
  <p:tag name="KSO_WM_UNIT_DIAGRAM_ISREFERUNIT" val="0"/>
  <p:tag name="KSO_WM_UNIT_TYPE" val="a"/>
  <p:tag name="KSO_WM_UNIT_INDEX" val="1"/>
  <p:tag name="KSO_WM_UNIT_ID" val="diagram20212445_1*a*1"/>
  <p:tag name="KSO_WM_TEMPLATE_CATEGORY" val="diagram"/>
  <p:tag name="KSO_WM_TEMPLATE_INDEX" val="20212445"/>
  <p:tag name="KSO_WM_UNIT_LAYERLEVEL" val="1"/>
  <p:tag name="KSO_WM_TAG_VERSION" val="1.0"/>
  <p:tag name="KSO_WM_BEAUTIFY_FLAG" val="#wm#"/>
  <p:tag name="KSO_WM_UNIT_PRESET_TEXT" val="标题"/>
  <p:tag name="KSO_WM_UNIT_DEFAULT_FONT" val="24;44;4"/>
  <p:tag name="KSO_WM_UNIT_BLOCK" val="0"/>
  <p:tag name="KSO_WM_UNIT_SHOW_EDIT_AREA_INDICATION" val="1"/>
  <p:tag name="KSO_WM_CHIP_GROUPID" val="5e7881253197e252a37019b5"/>
  <p:tag name="KSO_WM_CHIP_XID" val="5e7881253197e252a37019b6"/>
  <p:tag name="KSO_WM_UNIT_DEC_AREA_ID" val="90fe68a1a9bd46cbb2c6ab2c275dd4b6"/>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rm&quot;,&quot;fill_mode&quot;:&quot;full&quot;,&quot;sacle_strategy&quot;:&quot;smart&quot;}"/>
  <p:tag name="KSO_WM_ASSEMBLE_CHIP_INDEX" val="d76e0883ff704a08820536f13909ca6f"/>
  <p:tag name="KSO_WM_UNIT_SUPPORT_BIG_FONT" val="1"/>
  <p:tag name="KSO_WM_UNIT_TEXT_FILL_FORE_SCHEMECOLOR_INDEX_BRIGHTNESS" val="0"/>
  <p:tag name="KSO_WM_UNIT_TEXT_FILL_FORE_SCHEMECOLOR_INDEX" val="13"/>
  <p:tag name="KSO_WM_UNIT_TEXT_FILL_TYPE" val="1"/>
  <p:tag name="KSO_WM_TEMPLATE_ASSEMBLE_XID" val="60656f444054ed1e2fb8068b"/>
  <p:tag name="KSO_WM_TEMPLATE_ASSEMBLE_GROUPID" val="60656f444054ed1e2fb8068b"/>
</p:tagLst>
</file>

<file path=ppt/tags/tag153.xml><?xml version="1.0" encoding="utf-8"?>
<p:tagLst xmlns:a="http://schemas.openxmlformats.org/drawingml/2006/main" xmlns:r="http://schemas.openxmlformats.org/officeDocument/2006/relationships" xmlns:p="http://schemas.openxmlformats.org/presentationml/2006/main">
  <p:tag name="KSO_WM_UNIT_TABLE_BEAUTIFY" val="smartTable{76705679-67d5-43fa-8af9-69d863017821}"/>
  <p:tag name="KSO_WM_BEAUTIFY_FLAG" val="#wm#"/>
  <p:tag name="KSO_WM_UNIT_TYPE" val="β"/>
</p:tagLst>
</file>

<file path=ppt/tags/tag15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55.xml><?xml version="1.0" encoding="utf-8"?>
<p:tagLst xmlns:a="http://schemas.openxmlformats.org/drawingml/2006/main" xmlns:r="http://schemas.openxmlformats.org/officeDocument/2006/relationships" xmlns:p="http://schemas.openxmlformats.org/presentationml/2006/main">
  <p:tag name="KSO_WM_BEAUTIFY_FLAG" val="#wm#"/>
  <p:tag name="KSO_WM_TEMPLATE_CATEGORY" val="diagram"/>
  <p:tag name="KSO_WM_TEMPLATE_INDEX" val="20217307"/>
  <p:tag name="KSO_WM_SLIDE_ID" val="diagram20217307_1"/>
  <p:tag name="KSO_WM_TEMPLATE_SUBCATEGORY" val="21"/>
  <p:tag name="KSO_WM_TEMPLATE_MASTER_TYPE" val="0"/>
  <p:tag name="KSO_WM_TEMPLATE_COLOR_TYPE" val="1"/>
  <p:tag name="KSO_WM_SLIDE_TYPE" val="text"/>
  <p:tag name="KSO_WM_SLIDE_SUBTYPE" val="picTxt"/>
  <p:tag name="KSO_WM_SLIDE_ITEM_CNT" val="0"/>
  <p:tag name="KSO_WM_SLIDE_INDEX" val="1"/>
  <p:tag name="KSO_WM_SLIDE_SIZE" val="816*420"/>
  <p:tag name="KSO_WM_SLIDE_POSITION" val="72*48"/>
  <p:tag name="KSO_WM_TAG_VERSION" val="1.0"/>
  <p:tag name="KSO_WM_SLIDE_LAYOUT" val="a_d"/>
  <p:tag name="KSO_WM_SLIDE_LAYOUT_CNT" val="1_2"/>
  <p:tag name="KSO_WM_SLIDE_BACKGROUND" val="[&quot;general&quot;]"/>
  <p:tag name="KSO_WM_SLIDE_RATIO" val="1.777778"/>
  <p:tag name="KSO_WM_CHIP_INFOS" val="{&quot;type&quot;:0,&quot;layout_type&quot;:&quot;topbottom&quot;,&quot;layout_feature&quot;:1,&quot;aspect_ratio&quot;:&quot;16:9&quot;,&quot;same_font_size&quot;:false,&quot;diagram&quot;:{&quot;type&quot;:[],&quot;direction&quot;:0,&quot;isSupportDecBetweenItems&quot;:false},&quot;tags&quot;:{&quot;style&quot;:[&quot;商务&quot;,&quot;简约&quot;,&quot;文艺清新&quot;,&quot;中国风&quot;,&quot;卡通&quot;,&quot;欧美风&quot;,&quot;黑板风&quot;,&quot;渐变风&quot;,&quot;党政风&quot;],&quot;color_series&quot;:[&quot;红色&quot;,&quot;橙色&quot;,&quot;黄色&quot;,&quot;绿色&quot;,&quot;蓝色&quot;,&quot;紫色&quot;,&quot;通用&quot;]},&quot;slide_type&quot;:[&quot;text&quot;]}"/>
  <p:tag name="KSO_WM_CHIP_XID" val="5f700be5747e3ea6e292911a"/>
  <p:tag name="KSO_WM_CHIP_FILLPROP" val="[[{&quot;text_align&quot;:&quot;cm&quot;,&quot;text_direction&quot;:&quot;horizontal&quot;,&quot;support_big_font&quot;:false,&quot;picture_toward&quot;:0,&quot;picture_dockside&quot;:[],&quot;fill_id&quot;:&quot;d385c6d2b68f439ea484d6f6172a1376&quot;,&quot;fill_align&quot;:&quot;cm&quot;,&quot;chip_types&quot;:[&quot;header&quot;]},{&quot;text_align&quot;:&quot;lm&quot;,&quot;text_direction&quot;:&quot;horizontal&quot;,&quot;support_big_font&quot;:false,&quot;picture_toward&quot;:0,&quot;picture_dockside&quot;:[],&quot;fill_id&quot;:&quot;a26ce57a8f5740cf9edacae880a363f9&quot;,&quot;fill_align&quot;:&quot;rm&quot;,&quot;chip_types&quot;:[&quot;text&quot;,&quot;picture&quot;]},{&quot;text_align&quot;:&quot;lm&quot;,&quot;text_direction&quot;:&quot;horizontal&quot;,&quot;support_big_font&quot;:false,&quot;picture_toward&quot;:0,&quot;picture_dockside&quot;:[],&quot;fill_id&quot;:&quot;f05e266d48d546719784fd8f5aa550a7&quot;,&quot;fill_align&quot;:&quot;lm&quot;,&quot;chip_types&quot;:[&quot;picture&quot;]}],[{&quot;text_align&quot;:&quot;cm&quot;,&quot;text_direction&quot;:&quot;horizontal&quot;,&quot;support_big_font&quot;:false,&quot;picture_toward&quot;:0,&quot;picture_dockside&quot;:[],&quot;fill_id&quot;:&quot;d385c6d2b68f439ea484d6f6172a1376&quot;,&quot;fill_align&quot;:&quot;cm&quot;,&quot;chip_types&quot;:[&quot;header&quot;]},{&quot;text_align&quot;:&quot;lm&quot;,&quot;text_direction&quot;:&quot;horizontal&quot;,&quot;support_big_font&quot;:false,&quot;picture_toward&quot;:0,&quot;picture_dockside&quot;:[],&quot;fill_id&quot;:&quot;a26ce57a8f5740cf9edacae880a363f9&quot;,&quot;fill_align&quot;:&quot;rm&quot;,&quot;chip_types&quot;:[&quot;picture&quot;]},{&quot;text_align&quot;:&quot;lm&quot;,&quot;text_direction&quot;:&quot;horizontal&quot;,&quot;support_big_font&quot;:false,&quot;picture_toward&quot;:0,&quot;picture_dockside&quot;:[],&quot;fill_id&quot;:&quot;f05e266d48d546719784fd8f5aa550a7&quot;,&quot;fill_align&quot;:&quot;lm&quot;,&quot;chip_types&quot;:[&quot;text&quot;]}],[{&quot;text_align&quot;:&quot;lm&quot;,&quot;text_direction&quot;:&quot;horizontal&quot;,&quot;support_big_font&quot;:false,&quot;picture_toward&quot;:0,&quot;picture_dockside&quot;:[],&quot;fill_id&quot;:&quot;d385c6d2b68f439ea484d6f6172a1376&quot;,&quot;fill_align&quot;:&quot;lm&quot;,&quot;chip_types&quot;:[&quot;text&quot;]},{&quot;text_align&quot;:&quot;lm&quot;,&quot;text_direction&quot;:&quot;horizontal&quot;,&quot;support_big_font&quot;:false,&quot;picture_toward&quot;:0,&quot;picture_dockside&quot;:[],&quot;fill_id&quot;:&quot;a26ce57a8f5740cf9edacae880a363f9&quot;,&quot;fill_align&quot;:&quot;lm&quot;,&quot;chip_types&quot;:[&quot;picture&quot;]},{&quot;text_align&quot;:&quot;lm&quot;,&quot;text_direction&quot;:&quot;horizontal&quot;,&quot;support_big_font&quot;:false,&quot;picture_toward&quot;:0,&quot;picture_dockside&quot;:[],&quot;fill_id&quot;:&quot;f05e266d48d546719784fd8f5aa550a7&quot;,&quot;fill_align&quot;:&quot;lm&quot;,&quot;chip_types&quot;:[&quot;text&quot;,&quot;picture&quot;]}]]"/>
  <p:tag name="KSO_WM_CHIP_DECFILLPROP" val="[]"/>
  <p:tag name="KSO_WM_SLIDE_CAN_ADD_NAVIGATION" val="1"/>
  <p:tag name="KSO_WM_SLIDE_LAYOUT_INFO" val="{&quot;backgroundInfo&quot;:[{&quot;bottom&quot;:0,&quot;bottomAbs&quot;:false,&quot;left&quot;:0,&quot;leftAbs&quot;:false,&quot;right&quot;:0,&quot;rightAbs&quot;:false,&quot;top&quot;:0,&quot;topAbs&quot;:false,&quot;type&quot;:&quot;general&quot;}],&quot;id&quot;:&quot;2021-04-01T16:19:22&quot;,&quot;maxSize&quot;:{&quot;size1&quot;:26.7},&quot;minSize&quot;:{&quot;size1&quot;:22.1},&quot;normalSize&quot;:{&quot;size1&quot;:22.1},&quot;subLayout&quot;:[{&quot;id&quot;:&quot;2021-04-01T16:19:22&quot;,&quot;margin&quot;:{&quot;bottom&quot;:0.4230000674724579,&quot;left&quot;:2.5399999618530273,&quot;right&quot;:2.5399999618530273,&quot;top&quot;:1.6929999589920044},&quot;type&quot;:0},{&quot;direction&quot;:1,&quot;id&quot;:&quot;2021-04-01T16:19:22&quot;,&quot;maxSize&quot;:{&quot;size1&quot;:63.799639193216954},&quot;minSize&quot;:{&quot;size1&quot;:33.799639193216954},&quot;normalSize&quot;:{&quot;size1&quot;:33.799639193216954},&quot;subLayout&quot;:[{&quot;id&quot;:&quot;2021-04-01T16:19:22&quot;,&quot;margin&quot;:{&quot;bottom&quot;:1.6929999589920044,&quot;left&quot;:2.5399999618530273,&quot;right&quot;:0,&quot;top&quot;:0.4230000674724579},&quot;type&quot;:0},{&quot;id&quot;:&quot;2021-04-01T16:19:22&quot;,&quot;margin&quot;:{&quot;bottom&quot;:1.6929999589920044,&quot;left&quot;:0.8199999928474426,&quot;right&quot;:2.5399999618530273,&quot;top&quot;:0.4230000674724579},&quot;type&quot;:0}],&quot;type&quot;:0}],&quot;type&quot;:0}"/>
  <p:tag name="KSO_WM_CHIP_GROUPID" val="5f6ca6ca7b7ee298d4026fe2"/>
  <p:tag name="KSO_WM_SLIDE_BK_DARK_LIGHT" val="2"/>
  <p:tag name="KSO_WM_SLIDE_BACKGROUND_TYPE" val="general"/>
  <p:tag name="KSO_WM_SLIDE_SUPPORT_FEATURE_TYPE" val="0"/>
  <p:tag name="KSO_WM_TEMPLATE_ASSEMBLE_XID" val="6065707a4054ed1e2fb815f7"/>
  <p:tag name="KSO_WM_TEMPLATE_ASSEMBLE_GROUPID" val="6065707a4054ed1e2fb815f7"/>
</p:tagLst>
</file>

<file path=ppt/tags/tag156.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22"/>
  <p:tag name="KSO_WM_UNIT_HIGHLIGHT" val="0"/>
  <p:tag name="KSO_WM_UNIT_COMPATIBLE" val="0"/>
  <p:tag name="KSO_WM_UNIT_DIAGRAM_ISNUMVISUAL" val="0"/>
  <p:tag name="KSO_WM_UNIT_DIAGRAM_ISREFERUNIT" val="0"/>
  <p:tag name="KSO_WM_UNIT_TYPE" val="a"/>
  <p:tag name="KSO_WM_UNIT_INDEX" val="1"/>
  <p:tag name="KSO_WM_UNIT_ID" val="diagram20217307_1*a*1"/>
  <p:tag name="KSO_WM_TEMPLATE_CATEGORY" val="diagram"/>
  <p:tag name="KSO_WM_TEMPLATE_INDEX" val="20217307"/>
  <p:tag name="KSO_WM_UNIT_LAYERLEVEL" val="1"/>
  <p:tag name="KSO_WM_TAG_VERSION" val="1.0"/>
  <p:tag name="KSO_WM_BEAUTIFY_FLAG" val="#wm#"/>
  <p:tag name="KSO_WM_UNIT_PRESET_TEXT" val="单击此处添加大标题内容"/>
  <p:tag name="KSO_WM_UNIT_DEFAULT_FONT" val="24;44;4"/>
  <p:tag name="KSO_WM_UNIT_BLOCK" val="0"/>
  <p:tag name="KSO_WM_UNIT_SHOW_EDIT_AREA_INDICATION" val="1"/>
  <p:tag name="KSO_WM_CHIP_GROUPID" val="5e7881253197e252a37019b5"/>
  <p:tag name="KSO_WM_CHIP_XID" val="5e7881253197e252a37019b6"/>
  <p:tag name="KSO_WM_UNIT_DEC_AREA_ID" val="fb5bd4f4da4c4096b3d2a38982bd1162"/>
  <p:tag name="KSO_WM_UNIT_DECORATE_INFO" val="{&quot;ReferentInfo&quot;:{&quot;Id&quot;:&quot;slide&quot;,&quot;X&quot;:{&quot;Pos&quot;:0},&quot;Y&quot;:{&quot;Pos&quot;:0}},&quot;DecorateInfoX&quot;:{&quot;Pos&quot;:0,&quot;IsAbs&quot;:false},&quot;DecorateInfoY&quot;:{&quot;Pos&quot;:0,&quot;IsAbs&quot;:false},&quot;DecorateInfoW&quot;:{&quot;IsAbs&quot;:true},&quot;DecorateInfoH&quot;:{&quot;IsAbs&quot;:true},&quot;whChangeMode&quot;:0}"/>
  <p:tag name="KSO_WM_UNIT_SM_LIMIT_TYPE" val="0"/>
  <p:tag name="KSO_WM_CHIP_FILLAREA_FILL_RULE" val="{&quot;fill_align&quot;:&quot;cm&quot;,&quot;fill_mode&quot;:&quot;full&quot;,&quot;sacle_strategy&quot;:&quot;smart&quot;}"/>
  <p:tag name="KSO_WM_ASSEMBLE_CHIP_INDEX" val="d033c286b47a4cc8a29427c806ec535d"/>
  <p:tag name="KSO_WM_UNIT_TEXT_FILL_FORE_SCHEMECOLOR_INDEX_BRIGHTNESS" val="0"/>
  <p:tag name="KSO_WM_UNIT_TEXT_FILL_FORE_SCHEMECOLOR_INDEX" val="13"/>
  <p:tag name="KSO_WM_UNIT_TEXT_FILL_TYPE" val="1"/>
  <p:tag name="KSO_WM_TEMPLATE_ASSEMBLE_XID" val="6065707a4054ed1e2fb815f7"/>
  <p:tag name="KSO_WM_TEMPLATE_ASSEMBLE_GROUPID" val="6065707a4054ed1e2fb815f7"/>
</p:tagLst>
</file>

<file path=ppt/tags/tag157.xml><?xml version="1.0" encoding="utf-8"?>
<p:tagLst xmlns:a="http://schemas.openxmlformats.org/drawingml/2006/main" xmlns:r="http://schemas.openxmlformats.org/officeDocument/2006/relationships" xmlns:p="http://schemas.openxmlformats.org/presentationml/2006/main">
  <p:tag name="KSO_WM_UNIT_VALUE" val="1184*1396"/>
  <p:tag name="KSO_WM_UNIT_HIGHLIGHT" val="0"/>
  <p:tag name="KSO_WM_UNIT_COMPATIBLE" val="0"/>
  <p:tag name="KSO_WM_UNIT_DIAGRAM_ISNUMVISUAL" val="0"/>
  <p:tag name="KSO_WM_UNIT_DIAGRAM_ISREFERUNIT" val="0"/>
  <p:tag name="KSO_WM_UNIT_TYPE" val="d"/>
  <p:tag name="KSO_WM_UNIT_INDEX" val="1"/>
  <p:tag name="KSO_WM_UNIT_ID" val="diagram20217307_1*d*1"/>
  <p:tag name="KSO_WM_TEMPLATE_CATEGORY" val="diagram"/>
  <p:tag name="KSO_WM_TEMPLATE_INDEX" val="20217307"/>
  <p:tag name="KSO_WM_UNIT_LAYERLEVEL" val="1"/>
  <p:tag name="KSO_WM_TAG_VERSION" val="1.0"/>
  <p:tag name="KSO_WM_BEAUTIFY_FLAG" val="#wm#"/>
  <p:tag name="KSO_WM_CHIP_GROUPID" val="5e7310da9a230a26b9e88a19"/>
  <p:tag name="KSO_WM_CHIP_XID" val="5e7310da9a230a26b9e88a1a"/>
  <p:tag name="KSO_WM_UNIT_DEC_AREA_ID" val="f7c13155ab1f4f7bb1e4ff5fa159d93b"/>
  <p:tag name="KSO_WM_UNIT_DECORATE_INFO" val="{&quot;ReferentInfo&quot;:{&quot;Id&quot;:&quot;slide&quot;,&quot;X&quot;:{&quot;Pos&quot;:0},&quot;Y&quot;:{&quot;Pos&quot;:0}},&quot;DecorateInfoX&quot;:{&quot;Pos&quot;:0,&quot;IsAbs&quot;:false},&quot;DecorateInfoY&quot;:{&quot;Pos&quot;:0,&quot;IsAbs&quot;:false},&quot;DecorateInfoW&quot;:{&quot;IsAbs&quot;:true},&quot;DecorateInfoH&quot;:{&quot;IsAbs&quot;:true},&quot;whChangeMode&quot;:0}"/>
  <p:tag name="KSO_WM_UNIT_SM_LIMIT_TYPE" val="0"/>
  <p:tag name="KSO_WM_CHIP_FILLAREA_FILL_RULE" val="{&quot;fill_align&quot;:&quot;rm&quot;,&quot;fill_mode&quot;:&quot;full&quot;,&quot;sacle_strategy&quot;:&quot;smart&quot;}"/>
  <p:tag name="KSO_WM_ASSEMBLE_CHIP_INDEX" val="4f35d7af96704f339426d1d86025aaec"/>
  <p:tag name="KSO_WM_UNIT_SUPPORT_UNIT_TYPE" val="[&quot;d&quot;]"/>
  <p:tag name="KSO_WM_TEMPLATE_ASSEMBLE_XID" val="6065707a4054ed1e2fb815f7"/>
  <p:tag name="KSO_WM_TEMPLATE_ASSEMBLE_GROUPID" val="6065707a4054ed1e2fb815f7"/>
  <p:tag name="KSO_WM_UNIT_PICTURE_CLIP_FLAG" val="0"/>
</p:tagLst>
</file>

<file path=ppt/tags/tag158.xml><?xml version="1.0" encoding="utf-8"?>
<p:tagLst xmlns:a="http://schemas.openxmlformats.org/drawingml/2006/main" xmlns:r="http://schemas.openxmlformats.org/officeDocument/2006/relationships" xmlns:p="http://schemas.openxmlformats.org/presentationml/2006/main">
  <p:tag name="KSO_WM_UNIT_VALUE" val="1184*1396"/>
  <p:tag name="KSO_WM_UNIT_HIGHLIGHT" val="0"/>
  <p:tag name="KSO_WM_UNIT_COMPATIBLE" val="0"/>
  <p:tag name="KSO_WM_UNIT_DIAGRAM_ISNUMVISUAL" val="0"/>
  <p:tag name="KSO_WM_UNIT_DIAGRAM_ISREFERUNIT" val="0"/>
  <p:tag name="KSO_WM_UNIT_TYPE" val="d"/>
  <p:tag name="KSO_WM_UNIT_INDEX" val="2"/>
  <p:tag name="KSO_WM_UNIT_ID" val="diagram20217307_1*d*2"/>
  <p:tag name="KSO_WM_TEMPLATE_CATEGORY" val="diagram"/>
  <p:tag name="KSO_WM_TEMPLATE_INDEX" val="20217307"/>
  <p:tag name="KSO_WM_UNIT_LAYERLEVEL" val="1"/>
  <p:tag name="KSO_WM_TAG_VERSION" val="1.0"/>
  <p:tag name="KSO_WM_BEAUTIFY_FLAG" val="#wm#"/>
  <p:tag name="KSO_WM_CHIP_GROUPID" val="5e7310da9a230a26b9e88a19"/>
  <p:tag name="KSO_WM_CHIP_XID" val="5e7310da9a230a26b9e88a1a"/>
  <p:tag name="KSO_WM_UNIT_DEC_AREA_ID" val="565569c1737745f483e40f4cc5cd8931"/>
  <p:tag name="KSO_WM_UNIT_DECORATE_INFO" val="{&quot;ReferentInfo&quot;:{&quot;Id&quot;:&quot;slide&quot;,&quot;X&quot;:{&quot;Pos&quot;:0},&quot;Y&quot;:{&quot;Pos&quot;:0}},&quot;DecorateInfoX&quot;:{&quot;Pos&quot;:0,&quot;IsAbs&quot;:false},&quot;DecorateInfoY&quot;:{&quot;Pos&quot;:0,&quot;IsAbs&quot;:false},&quot;DecorateInfoW&quot;:{&quot;IsAbs&quot;:true},&quot;DecorateInfoH&quot;:{&quot;IsAbs&quot;:true},&quot;whChangeMode&quot;:0}"/>
  <p:tag name="KSO_WM_UNIT_SM_LIMIT_TYPE" val="0"/>
  <p:tag name="KSO_WM_CHIP_FILLAREA_FILL_RULE" val="{&quot;fill_align&quot;:&quot;lm&quot;,&quot;fill_mode&quot;:&quot;full&quot;,&quot;sacle_strategy&quot;:&quot;smart&quot;}"/>
  <p:tag name="KSO_WM_ASSEMBLE_CHIP_INDEX" val="c7f0373b7db540459bf70246d8aac9f1"/>
  <p:tag name="KSO_WM_TEMPLATE_ASSEMBLE_XID" val="6065707a4054ed1e2fb815f7"/>
  <p:tag name="KSO_WM_TEMPLATE_ASSEMBLE_GROUPID" val="6065707a4054ed1e2fb815f7"/>
  <p:tag name="KSO_WM_UNIT_PICTURE_CLIP_FLAG" val="0"/>
</p:tagLst>
</file>

<file path=ppt/tags/tag15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6_1"/>
  <p:tag name="KSO_WM_UNIT_ID" val="diagram20218393_5*l_h_i*1_6_1"/>
  <p:tag name="KSO_WM_TEMPLATE_CATEGORY" val="diagram"/>
  <p:tag name="KSO_WM_TEMPLATE_INDEX" val="20218393"/>
  <p:tag name="KSO_WM_UNIT_LAYERLEVEL" val="1_1_1"/>
  <p:tag name="KSO_WM_TAG_VERSION" val="1.0"/>
  <p:tag name="KSO_WM_BEAUTIFY_FLAG" val="#wm#"/>
  <p:tag name="KSO_WM_UNIT_FILL_FORE_SCHEMECOLOR_INDEX_BRIGHTNESS" val="0"/>
  <p:tag name="KSO_WM_UNIT_FILL_FORE_SCHEMECOLOR_INDEX" val="10"/>
  <p:tag name="KSO_WM_UNIT_FILL_TYPE" val="1"/>
  <p:tag name="KSO_WM_UNIT_TEXT_FILL_FORE_SCHEMECOLOR_INDEX_BRIGHTNESS" val="0"/>
  <p:tag name="KSO_WM_UNIT_TEXT_FILL_FORE_SCHEMECOLOR_INDEX" val="2"/>
  <p:tag name="KSO_WM_UNIT_TEXT_FILL_TYPE" val="1"/>
  <p:tag name="KSO_WM_UNIT_USESOURCEFORMAT_APPLY" val="1"/>
</p:tagLst>
</file>

<file path=ppt/tags/tag17.xml><?xml version="1.0" encoding="utf-8"?>
<p:tagLst xmlns:a="http://schemas.openxmlformats.org/drawingml/2006/main" xmlns:r="http://schemas.openxmlformats.org/officeDocument/2006/relationships" xmlns:p="http://schemas.openxmlformats.org/presentationml/2006/main">
  <p:tag name="KSO_WM_UNIT_ISCONTENTSTITLE" val="1"/>
  <p:tag name="KSO_WM_UNIT_ISNUMDGMTITLE" val="0"/>
  <p:tag name="KSO_WM_UNIT_PRESET_TEXT" val="目录"/>
  <p:tag name="KSO_WM_UNIT_NOCLEAR" val="0"/>
  <p:tag name="KSO_WM_UNIT_VALUE" val="3"/>
  <p:tag name="KSO_WM_UNIT_HIGHLIGHT" val="0"/>
  <p:tag name="KSO_WM_UNIT_COMPATIBLE" val="0"/>
  <p:tag name="KSO_WM_UNIT_DIAGRAM_ISNUMVISUAL" val="0"/>
  <p:tag name="KSO_WM_UNIT_DIAGRAM_ISREFERUNIT" val="0"/>
  <p:tag name="KSO_WM_DIAGRAM_GROUP_CODE" val="l1-1"/>
  <p:tag name="KSO_WM_UNIT_TYPE" val="a"/>
  <p:tag name="KSO_WM_UNIT_INDEX" val="1"/>
  <p:tag name="KSO_WM_UNIT_ID" val="diagram20218393_5*a*1"/>
  <p:tag name="KSO_WM_TEMPLATE_CATEGORY" val="diagram"/>
  <p:tag name="KSO_WM_TEMPLATE_INDEX" val="20218393"/>
  <p:tag name="KSO_WM_UNIT_LAYERLEVEL" val="1"/>
  <p:tag name="KSO_WM_TAG_VERSION" val="1.0"/>
  <p:tag name="KSO_WM_BEAUTIFY_FLAG" val="#wm#"/>
  <p:tag name="KSO_WM_UNIT_TEXT_FILL_FORE_SCHEMECOLOR_INDEX_BRIGHTNESS" val="0"/>
  <p:tag name="KSO_WM_UNIT_TEXT_FILL_FORE_SCHEMECOLOR_INDEX" val="5"/>
  <p:tag name="KSO_WM_UNIT_TEXT_FILL_TYPE" val="1"/>
  <p:tag name="KSO_WM_UNIT_USESOURCEFORMAT_APPLY" val="1"/>
</p:tagLst>
</file>

<file path=ppt/tags/tag18.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PRESET_TEXT" val="CONTENTS"/>
  <p:tag name="KSO_WM_UNIT_NOCLEAR" val="0"/>
  <p:tag name="KSO_WM_UNIT_VALUE" val="11"/>
  <p:tag name="KSO_WM_UNIT_HIGHLIGHT" val="0"/>
  <p:tag name="KSO_WM_UNIT_COMPATIBLE" val="0"/>
  <p:tag name="KSO_WM_UNIT_DIAGRAM_ISNUMVISUAL" val="0"/>
  <p:tag name="KSO_WM_UNIT_DIAGRAM_ISREFERUNIT" val="0"/>
  <p:tag name="KSO_WM_DIAGRAM_GROUP_CODE" val="l1-1"/>
  <p:tag name="KSO_WM_UNIT_TYPE" val="b"/>
  <p:tag name="KSO_WM_UNIT_INDEX" val="1"/>
  <p:tag name="KSO_WM_UNIT_ID" val="diagram20218393_5*b*1"/>
  <p:tag name="KSO_WM_TEMPLATE_CATEGORY" val="diagram"/>
  <p:tag name="KSO_WM_TEMPLATE_INDEX" val="20218393"/>
  <p:tag name="KSO_WM_UNIT_LAYERLEVEL" val="1"/>
  <p:tag name="KSO_WM_TAG_VERSION" val="1.0"/>
  <p:tag name="KSO_WM_BEAUTIFY_FLAG" val="#wm#"/>
  <p:tag name="KSO_WM_UNIT_TEXT_FILL_FORE_SCHEMECOLOR_INDEX_BRIGHTNESS" val="0"/>
  <p:tag name="KSO_WM_UNIT_TEXT_FILL_FORE_SCHEMECOLOR_INDEX" val="5"/>
  <p:tag name="KSO_WM_UNIT_TEXT_FILL_TYPE" val="1"/>
  <p:tag name="KSO_WM_UNIT_USESOURCEFORMAT_APPLY" val="1"/>
</p:tagLst>
</file>

<file path=ppt/tags/tag1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0.xml><?xml version="1.0" encoding="utf-8"?>
<p:tagLst xmlns:a="http://schemas.openxmlformats.org/drawingml/2006/main" xmlns:r="http://schemas.openxmlformats.org/officeDocument/2006/relationships" xmlns:p="http://schemas.openxmlformats.org/presentationml/2006/main">
  <p:tag name="ISLIDE.THEME" val="https://www.islide.cc;"/>
  <p:tag name="KSO_WM_SLIDE_ID" val="diagram20213673_1"/>
  <p:tag name="KSO_WM_TEMPLATE_SUBCATEGORY" val="21"/>
  <p:tag name="KSO_WM_TEMPLATE_MASTER_TYPE" val="0"/>
  <p:tag name="KSO_WM_TEMPLATE_COLOR_TYPE" val="1"/>
  <p:tag name="KSO_WM_SLIDE_TYPE" val="text"/>
  <p:tag name="KSO_WM_SLIDE_SUBTYPE" val="pureTxt"/>
  <p:tag name="KSO_WM_SLIDE_ITEM_CNT" val="0"/>
  <p:tag name="KSO_WM_SLIDE_INDEX" val="1"/>
  <p:tag name="KSO_WM_TAG_VERSION" val="1.0"/>
  <p:tag name="KSO_WM_BEAUTIFY_FLAG" val="#wm#"/>
  <p:tag name="KSO_WM_TEMPLATE_CATEGORY" val="diagram"/>
  <p:tag name="KSO_WM_TEMPLATE_INDEX" val="20213673"/>
  <p:tag name="KSO_WM_SLIDE_LAYOUT" val="a_f"/>
  <p:tag name="KSO_WM_SLIDE_LAYOUT_CNT" val="1_1"/>
  <p:tag name="KSO_WM_TEMPLATE_THUMBS_INDEX" val="1、4、7、12、13、14、15、16、17、18、20、24、25、28、33、36、40、43、44"/>
  <p:tag name="KSO_WM_SLIDE_LAYOUT_INFO" val="{&quot;backgroundInfo&quot;:[{&quot;bottom&quot;:0,&quot;bottomAbs&quot;:false,&quot;left&quot;:0,&quot;leftAbs&quot;:false,&quot;right&quot;:0,&quot;rightAbs&quot;:false,&quot;top&quot;:0,&quot;topAbs&quot;:false,&quot;type&quot;:&quot;general&quot;}],&quot;id&quot;:&quot;2021-04-01T15:14:58&quot;,&quot;maxSize&quot;:{&quot;size1&quot;:31.1},&quot;minSize&quot;:{&quot;size1&quot;:20},&quot;normalSize&quot;:{&quot;size1&quot;:20.00018518518518},&quot;subLayout&quot;:[{&quot;id&quot;:&quot;2021-04-01T15:14:58&quot;,&quot;margin&quot;:{&quot;bottom&quot;:0.21199998259544373,&quot;left&quot;:1.6929999589920044,&quot;right&quot;:1.6929999589920044,&quot;top&quot;:1.6929999589920044},&quot;type&quot;:0},{&quot;id&quot;:&quot;2021-04-01T15:14:58&quot;,&quot;margin&quot;:{&quot;bottom&quot;:2.117000102996826,&quot;left&quot;:5.502999782562256,&quot;right&quot;:5.502999782562256,&quot;top&quot;:1.6929999589920044},&quot;type&quot;:0}],&quot;type&quot;:0}"/>
  <p:tag name="KSO_WM_SLIDE_BACKGROUND" val="[&quot;general&quot;]"/>
  <p:tag name="KSO_WM_SLIDE_RATIO" val="1.777778"/>
  <p:tag name="KSO_WM_SLIDE_SIZE" val="864*420"/>
  <p:tag name="KSO_WM_SLIDE_POSITION" val="47*48"/>
  <p:tag name="KSO_WM_CHIP_INFOS" val="{&quot;type&quot;:0,&quot;layout_type&quot;:&quot;topbottom&quot;,&quot;layout_feature&quot;:1,&quot;aspect_ratio&quot;:&quot;16:9&quot;,&quot;same_font_size&quot;:false,&quot;diagram&quot;:{&quot;type&quot;:[],&quot;direction&quot;:0,&quot;isSupportDecBetweenItems&quot;:false},&quot;tags&quot;:{&quot;style&quot;:[&quot;商务&quot;,&quot;简约&quot;,&quot;文艺清新&quot;,&quot;中国风&quot;,&quot;卡通&quot;,&quot;欧美风&quot;,&quot;黑板风&quot;,&quot;渐变风&quot;,&quot;党政风&quot;]},&quot;slide_type&quot;:[&quot;text&quot;]}"/>
  <p:tag name="KSO_WM_CHIP_XID" val="5f69675b553136823a5e61e2"/>
  <p:tag name="KSO_WM_CHIP_FILLPROP" val="[[{&quot;text_align&quot;:&quot;ct&quot;,&quot;text_direction&quot;:&quot;horizontal&quot;,&quot;support_big_font&quot;:false,&quot;picture_toward&quot;:0,&quot;picture_dockside&quot;:[],&quot;fill_id&quot;:&quot;f4e552a498f24ec88a7a49012f3332fe&quot;,&quot;fill_align&quot;:&quot;ct&quot;,&quot;chip_types&quot;:[&quot;header&quot;]},{&quot;text_align&quot;:&quot;lm&quot;,&quot;text_direction&quot;:&quot;horizontal&quot;,&quot;support_features&quot;:[&quot;collage&quot;],&quot;support_big_font&quot;:false,&quot;picture_toward&quot;:0,&quot;picture_dockside&quot;:[],&quot;fill_id&quot;:&quot;174da224636a4d3fbb0d51f2ce0d7c1d&quot;,&quot;fill_align&quot;:&quot;cm&quot;,&quot;chip_types&quot;:[&quot;pictext&quot;,&quot;text&quot;,&quot;picture&quot;,&quot;table&quot;,&quot;video&quot;]}]]"/>
  <p:tag name="FIXED_XID_TMP" val="5f5ee1ca4d6848d78f644aed"/>
  <p:tag name="KSO_WM_CHIP_DECFILLPROP" val="[]"/>
  <p:tag name="KSO_WM_SLIDE_CAN_ADD_NAVIGATION" val="1"/>
  <p:tag name="KSO_WM_CHIP_GROUPID" val="5f5ee1ca4d6848d78f644aed"/>
  <p:tag name="KSO_WM_SLIDE_BK_DARK_LIGHT" val="2"/>
  <p:tag name="KSO_WM_SLIDE_BACKGROUND_TYPE" val="general"/>
  <p:tag name="KSO_WM_SLIDE_SUPPORT_FEATURE_TYPE" val="0"/>
  <p:tag name="KSO_WM_TEMPLATE_ASSEMBLE_XID" val="60656eb54054ed1e2fb7fe8f"/>
  <p:tag name="KSO_WM_TEMPLATE_ASSEMBLE_GROUPID" val="60656eb54054ed1e2fb7fe8f"/>
</p:tagLst>
</file>

<file path=ppt/tags/tag21.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27"/>
  <p:tag name="KSO_WM_UNIT_HIGHLIGHT" val="0"/>
  <p:tag name="KSO_WM_UNIT_COMPATIBLE" val="0"/>
  <p:tag name="KSO_WM_UNIT_DIAGRAM_ISNUMVISUAL" val="0"/>
  <p:tag name="KSO_WM_UNIT_DIAGRAM_ISREFERUNIT" val="0"/>
  <p:tag name="KSO_WM_UNIT_TYPE" val="a"/>
  <p:tag name="KSO_WM_UNIT_INDEX" val="1"/>
  <p:tag name="KSO_WM_UNIT_ID" val="diagram20213673_1*a*1"/>
  <p:tag name="KSO_WM_TEMPLATE_CATEGORY" val="diagram"/>
  <p:tag name="KSO_WM_TEMPLATE_INDEX" val="20213673"/>
  <p:tag name="KSO_WM_UNIT_LAYERLEVEL" val="1"/>
  <p:tag name="KSO_WM_TAG_VERSION" val="1.0"/>
  <p:tag name="KSO_WM_BEAUTIFY_FLAG" val="#wm#"/>
  <p:tag name="KSO_WM_UNIT_PRESET_TEXT" val="单击此处添加大标题内容"/>
  <p:tag name="KSO_WM_UNIT_DEFAULT_FONT" val="24;44;4"/>
  <p:tag name="KSO_WM_UNIT_BLOCK" val="0"/>
  <p:tag name="KSO_WM_UNIT_SHOW_EDIT_AREA_INDICATION" val="1"/>
  <p:tag name="KSO_WM_CHIP_GROUPID" val="5e7881253197e252a37019b5"/>
  <p:tag name="KSO_WM_CHIP_XID" val="5e7881253197e252a37019b6"/>
  <p:tag name="KSO_WM_UNIT_DEC_AREA_ID" val="b37919134acb4a51bbcb8f9b66950980"/>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ct&quot;,&quot;fill_mode&quot;:&quot;full&quot;,&quot;sacle_strategy&quot;:&quot;smart&quot;}"/>
  <p:tag name="KSO_WM_ASSEMBLE_CHIP_INDEX" val="cb75ab1854554ce1b4f35158b54f7333"/>
  <p:tag name="KSO_WM_UNIT_TEXT_FILL_FORE_SCHEMECOLOR_INDEX_BRIGHTNESS" val="0"/>
  <p:tag name="KSO_WM_UNIT_TEXT_FILL_FORE_SCHEMECOLOR_INDEX" val="13"/>
  <p:tag name="KSO_WM_UNIT_TEXT_FILL_TYPE" val="1"/>
  <p:tag name="KSO_WM_TEMPLATE_ASSEMBLE_XID" val="60656eb54054ed1e2fb7fe8f"/>
  <p:tag name="KSO_WM_TEMPLATE_ASSEMBLE_GROUPID" val="60656eb54054ed1e2fb7fe8f"/>
</p:tagLst>
</file>

<file path=ppt/tags/tag22.xml><?xml version="1.0" encoding="utf-8"?>
<p:tagLst xmlns:a="http://schemas.openxmlformats.org/drawingml/2006/main" xmlns:r="http://schemas.openxmlformats.org/officeDocument/2006/relationships" xmlns:p="http://schemas.openxmlformats.org/presentationml/2006/main">
  <p:tag name="KSO_WM_UNIT_TEXT_SUBTYPE" val="a"/>
  <p:tag name="KSO_WM_UNIT_SUBTYPE" val="a"/>
  <p:tag name="KSO_WM_UNIT_PRESET_TEXT" val="单击此处添加正文，文字是您思想的提炼，为了演示发布的良好效果，请言简意赅的阐述您的观点。您的内容已经简明扼要，字字珠玑，但信息却千丝万缕、错综复杂，需要用更多的文字来表述；但请您尽可能提炼思想的精髓，否则容易造成观者的阅读压力，适得其反。正如我们都希望改变世界，希望给别人带去光明，但更多时候我们只需要播下一颗种子，自然有微风吹拂，雨露滋养。恰如其分的表达观点，往往事半功倍。当您的内容到达这个限度时。"/>
  <p:tag name="KSO_WM_UNIT_NOCLEAR" val="0"/>
  <p:tag name="KSO_WM_UNIT_HIGHLIGHT" val="0"/>
  <p:tag name="KSO_WM_UNIT_COMPATIBLE" val="0"/>
  <p:tag name="KSO_WM_UNIT_DIAGRAM_ISNUMVISUAL" val="0"/>
  <p:tag name="KSO_WM_UNIT_DIAGRAM_ISREFERUNIT" val="0"/>
  <p:tag name="KSO_WM_UNIT_TYPE" val="f"/>
  <p:tag name="KSO_WM_UNIT_INDEX" val="1"/>
  <p:tag name="KSO_WM_UNIT_ID" val="diagram20213673_1*f*1"/>
  <p:tag name="KSO_WM_TEMPLATE_CATEGORY" val="diagram"/>
  <p:tag name="KSO_WM_TEMPLATE_INDEX" val="20213673"/>
  <p:tag name="KSO_WM_UNIT_LAYERLEVEL" val="1"/>
  <p:tag name="KSO_WM_TAG_VERSION" val="1.0"/>
  <p:tag name="KSO_WM_BEAUTIFY_FLAG" val="#wm#"/>
  <p:tag name="KSO_WM_UNIT_DEFAULT_FONT" val="14;20;2"/>
  <p:tag name="KSO_WM_UNIT_BLOCK" val="0"/>
  <p:tag name="KSO_WM_UNIT_VALUE" val="225"/>
  <p:tag name="KSO_WM_UNIT_SHOW_EDIT_AREA_INDICATION" val="1"/>
  <p:tag name="KSO_WM_CHIP_GROUPID" val="5e6b05596848fb12bee65ac8"/>
  <p:tag name="KSO_WM_CHIP_XID" val="5e6b05596848fb12bee65aca"/>
  <p:tag name="KSO_WM_UNIT_DEC_AREA_ID" val="c5974a3a47a7438db28ffdaeb587b99c"/>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cm&quot;,&quot;fill_mode&quot;:&quot;full&quot;,&quot;sacle_strategy&quot;:&quot;smart&quot;}"/>
  <p:tag name="KSO_WM_ASSEMBLE_CHIP_INDEX" val="e2b0899fbad14fb9990a409e9b2989d8"/>
  <p:tag name="KSO_WM_UNIT_SUPPORT_UNIT_TYPE" val="[&quot;d&quot;,&quot;β&quot;,&quot;θ&quot;]"/>
  <p:tag name="KSO_WM_UNIT_TEXT_FILL_FORE_SCHEMECOLOR_INDEX_BRIGHTNESS" val="0.25"/>
  <p:tag name="KSO_WM_UNIT_TEXT_FILL_FORE_SCHEMECOLOR_INDEX" val="13"/>
  <p:tag name="KSO_WM_UNIT_TEXT_FILL_TYPE" val="1"/>
  <p:tag name="KSO_WM_TEMPLATE_ASSEMBLE_XID" val="60656eb54054ed1e2fb7fe8f"/>
  <p:tag name="KSO_WM_TEMPLATE_ASSEMBLE_GROUPID" val="60656eb54054ed1e2fb7fe8f"/>
</p:tagLst>
</file>

<file path=ppt/tags/tag2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213673_1*i*1"/>
  <p:tag name="KSO_WM_TEMPLATE_CATEGORY" val="diagram"/>
  <p:tag name="KSO_WM_TEMPLATE_INDEX" val="20213673"/>
  <p:tag name="KSO_WM_UNIT_LAYERLEVEL" val="1"/>
  <p:tag name="KSO_WM_TAG_VERSION" val="1.0"/>
  <p:tag name="KSO_WM_BEAUTIFY_FLAG" val="#wm#"/>
  <p:tag name="KSO_WM_UNIT_BLOCK" val="0"/>
  <p:tag name="KSO_WM_UNIT_SM_LIMIT_TYPE" val="2"/>
  <p:tag name="KSO_WM_UNIT_DEC_AREA_ID" val="77a68b76df7a44bd8803cebad9e0ff01"/>
  <p:tag name="KSO_WM_UNIT_DECORATE_INFO" val="{&quot;DecorateInfoH&quot;:{&quot;IsAbs&quot;:false},&quot;DecorateInfoW&quot;:{&quot;IsAbs&quot;:false},&quot;DecorateInfoX&quot;:{&quot;IsAbs&quot;:false,&quot;Pos&quot;:1},&quot;DecorateInfoY&quot;:{&quot;IsAbs&quot;:false,&quot;Pos&quot;:1},&quot;ReferentInfo&quot;:{&quot;Id&quot;:&quot;c5974a3a47a7438db28ffdaeb587b99c&quot;,&quot;X&quot;:{&quot;Pos&quot;:1},&quot;Y&quot;:{&quot;Pos&quot;:1}},&quot;whChangeMode&quot;:1}"/>
  <p:tag name="KSO_WM_CHIP_GROUPID" val="5f5ee1ca4d6848d78f644aed"/>
  <p:tag name="KSO_WM_CHIP_XID" val="5f69675b553136823a5e61e2"/>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 name="KSO_WM_UNIT_VALUE" val="450"/>
  <p:tag name="KSO_WM_TEMPLATE_ASSEMBLE_XID" val="60656eb54054ed1e2fb7fe8f"/>
  <p:tag name="KSO_WM_TEMPLATE_ASSEMBLE_GROUPID" val="60656eb54054ed1e2fb7fe8f"/>
</p:tagLst>
</file>

<file path=ppt/tags/tag2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
  <p:tag name="KSO_WM_UNIT_ID" val="diagram20213673_1*i*2"/>
  <p:tag name="KSO_WM_TEMPLATE_CATEGORY" val="diagram"/>
  <p:tag name="KSO_WM_TEMPLATE_INDEX" val="20213673"/>
  <p:tag name="KSO_WM_UNIT_LAYERLEVEL" val="1"/>
  <p:tag name="KSO_WM_TAG_VERSION" val="1.0"/>
  <p:tag name="KSO_WM_BEAUTIFY_FLAG" val="#wm#"/>
  <p:tag name="KSO_WM_UNIT_BLOCK" val="0"/>
  <p:tag name="KSO_WM_UNIT_SM_LIMIT_TYPE" val="0"/>
  <p:tag name="KSO_WM_UNIT_DEC_AREA_ID" val="f8361c95c6a14706b337364fb1f6f01e"/>
  <p:tag name="KSO_WM_UNIT_DECORATE_INFO" val="{&quot;DecorateInfoH&quot;:{&quot;IsAbs&quot;:true},&quot;DecorateInfoW&quot;:{&quot;IsAbs&quot;:true},&quot;DecorateInfoX&quot;:{&quot;IsAbs&quot;:true,&quot;Pos&quot;:0},&quot;DecorateInfoY&quot;:{&quot;IsAbs&quot;:true,&quot;Pos&quot;:0},&quot;ReferentInfo&quot;:{&quot;Id&quot;:&quot;c5974a3a47a7438db28ffdaeb587b99c&quot;,&quot;X&quot;:{&quot;Pos&quot;:2},&quot;Y&quot;:{&quot;Pos&quot;:0}},&quot;whChangeMode&quot;:0}"/>
  <p:tag name="KSO_WM_CHIP_GROUPID" val="5f5ee1ca4d6848d78f644aed"/>
  <p:tag name="KSO_WM_CHIP_XID" val="5f69675b553136823a5e61e2"/>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 name="KSO_WM_UNIT_VALUE" val="4"/>
  <p:tag name="KSO_WM_TEMPLATE_ASSEMBLE_XID" val="60656eb54054ed1e2fb7fe8f"/>
  <p:tag name="KSO_WM_TEMPLATE_ASSEMBLE_GROUPID" val="60656eb54054ed1e2fb7fe8f"/>
</p:tagLst>
</file>

<file path=ppt/tags/tag2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
  <p:tag name="KSO_WM_UNIT_ID" val="diagram20213673_1*i*3"/>
  <p:tag name="KSO_WM_TEMPLATE_CATEGORY" val="diagram"/>
  <p:tag name="KSO_WM_TEMPLATE_INDEX" val="20213673"/>
  <p:tag name="KSO_WM_UNIT_LAYERLEVEL" val="1"/>
  <p:tag name="KSO_WM_TAG_VERSION" val="1.0"/>
  <p:tag name="KSO_WM_BEAUTIFY_FLAG" val="#wm#"/>
  <p:tag name="KSO_WM_UNIT_BLOCK" val="0"/>
  <p:tag name="KSO_WM_UNIT_SM_LIMIT_TYPE" val="0"/>
  <p:tag name="KSO_WM_UNIT_DEC_AREA_ID" val="78eaa76c012f411782417439eb047a85"/>
  <p:tag name="KSO_WM_UNIT_DECORATE_INFO" val="{&quot;DecorateInfoH&quot;:{&quot;IsAbs&quot;:true},&quot;DecorateInfoW&quot;:{&quot;IsAbs&quot;:true},&quot;DecorateInfoX&quot;:{&quot;IsAbs&quot;:true,&quot;Pos&quot;:2},&quot;DecorateInfoY&quot;:{&quot;IsAbs&quot;:true,&quot;Pos&quot;:2},&quot;ReferentInfo&quot;:{&quot;Id&quot;:&quot;c5974a3a47a7438db28ffdaeb587b99c&quot;,&quot;X&quot;:{&quot;Pos&quot;:0},&quot;Y&quot;:{&quot;Pos&quot;:2}},&quot;whChangeMode&quot;:0}"/>
  <p:tag name="KSO_WM_CHIP_GROUPID" val="5f5ee1ca4d6848d78f644aed"/>
  <p:tag name="KSO_WM_CHIP_XID" val="5f69675b553136823a5e61e2"/>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 name="KSO_WM_UNIT_VALUE" val="5"/>
  <p:tag name="KSO_WM_TEMPLATE_ASSEMBLE_XID" val="60656eb54054ed1e2fb7fe8f"/>
  <p:tag name="KSO_WM_TEMPLATE_ASSEMBLE_GROUPID" val="60656eb54054ed1e2fb7fe8f"/>
</p:tagLst>
</file>

<file path=ppt/tags/tag26.xml><?xml version="1.0" encoding="utf-8"?>
<p:tagLst xmlns:a="http://schemas.openxmlformats.org/drawingml/2006/main" xmlns:r="http://schemas.openxmlformats.org/officeDocument/2006/relationships" xmlns:p="http://schemas.openxmlformats.org/presentationml/2006/main">
  <p:tag name="ISLIDE.THEME" val="https://www.islide.cc;"/>
  <p:tag name="KSO_WM_SLIDE_ID" val="diagram20217322_1"/>
  <p:tag name="KSO_WM_TEMPLATE_SUBCATEGORY" val="21"/>
  <p:tag name="KSO_WM_TEMPLATE_MASTER_TYPE" val="0"/>
  <p:tag name="KSO_WM_TEMPLATE_COLOR_TYPE" val="1"/>
  <p:tag name="KSO_WM_SLIDE_TYPE" val="text"/>
  <p:tag name="KSO_WM_SLIDE_SUBTYPE" val="pureTxt"/>
  <p:tag name="KSO_WM_SLIDE_ITEM_CNT" val="0"/>
  <p:tag name="KSO_WM_SLIDE_INDEX" val="1"/>
  <p:tag name="KSO_WM_TAG_VERSION" val="1.0"/>
  <p:tag name="KSO_WM_BEAUTIFY_FLAG" val="#wm#"/>
  <p:tag name="KSO_WM_TEMPLATE_CATEGORY" val="diagram"/>
  <p:tag name="KSO_WM_TEMPLATE_INDEX" val="20217322"/>
  <p:tag name="KSO_WM_SLIDE_LAYOUT" val="a_f"/>
  <p:tag name="KSO_WM_SLIDE_LAYOUT_CNT" val="1_1"/>
  <p:tag name="KSO_WM_TEMPLATE_THUMBS_INDEX" val="1、4、7、12、13、14、15、16、17、18、20、24、25、28、33、36、40、43、44"/>
  <p:tag name="KSO_WM_SLIDE_SIZE" val="840*472"/>
  <p:tag name="KSO_WM_SLIDE_POSITION" val="58*47"/>
  <p:tag name="KSO_WM_SLIDE_LAYOUT_INFO" val="{&quot;backgroundInfo&quot;:[{&quot;bottom&quot;:0,&quot;bottomAbs&quot;:false,&quot;left&quot;:0,&quot;leftAbs&quot;:false,&quot;right&quot;:0,&quot;rightAbs&quot;:false,&quot;top&quot;:0,&quot;topAbs&quot;:false,&quot;type&quot;:&quot;general&quot;}],&quot;id&quot;:&quot;2021-04-01T16:19:51&quot;,&quot;maxSize&quot;:{&quot;size1&quot;:52.47485482858287},&quot;minSize&quot;:{&quot;size1&quot;:33.27485482858287},&quot;normalSize&quot;:{&quot;size1&quot;:33.275040013768056},&quot;subLayout&quot;:[{&quot;id&quot;:&quot;2021-04-01T16:19:51&quot;,&quot;margin&quot;:{&quot;bottom&quot;:0.8479999303817749,&quot;left&quot;:5.502999782562256,&quot;right&quot;:5.502999782562256,&quot;top&quot;:3.38700008392334},&quot;type&quot;:0},{&quot;id&quot;:&quot;2021-04-01T16:19:51&quot;,&quot;margin&quot;:{&quot;bottom&quot;:3.38700008392334,&quot;left&quot;:5.502999782562256,&quot;right&quot;:5.502999782562256,&quot;top&quot;:0.02600000612437725},&quot;type&quot;:0}],&quot;type&quot;:0}"/>
  <p:tag name="KSO_WM_SLIDE_BACKGROUND" val="[&quot;general&quot;]"/>
  <p:tag name="KSO_WM_SLIDE_RATIO" val="1.777778"/>
  <p:tag name="KSO_WM_CHIP_INFOS" val="{&quot;type&quot;:0,&quot;layout_type&quot;:&quot;topbottom&quot;,&quot;layout_feature&quot;:1,&quot;aspect_ratio&quot;:&quot;16:9&quot;,&quot;same_font_size&quot;:false,&quot;diagram&quot;:{&quot;type&quot;:[],&quot;direction&quot;:0,&quot;isSupportDecBetweenItems&quot;:false},&quot;tags&quot;:{&quot;style&quot;:[&quot;商务&quot;,&quot;简约&quot;,&quot;文艺清新&quot;,&quot;中国风&quot;,&quot;卡通&quot;,&quot;欧美风&quot;,&quot;黑板风&quot;,&quot;渐变风&quot;,&quot;党政风&quot;]},&quot;slide_type&quot;:[&quot;text&quot;]}"/>
  <p:tag name="KSO_WM_CHIP_XID" val="5fd06e271fa9d42129da2b20"/>
  <p:tag name="KSO_WM_CHIP_FILLPROP" val="[[{&quot;text_align&quot;:&quot;lb&quot;,&quot;text_direction&quot;:&quot;horizontal&quot;,&quot;support_big_font&quot;:false,&quot;picture_toward&quot;:0,&quot;picture_dockside&quot;:[],&quot;fill_id&quot;:&quot;d689204f4de345a4982605551024dd38&quot;,&quot;fill_align&quot;:&quot;lb&quot;,&quot;chip_types&quot;:[&quot;text&quot;,&quot;header&quot;]},{&quot;text_align&quot;:&quot;lt&quot;,&quot;text_direction&quot;:&quot;horizontal&quot;,&quot;support_big_font&quot;:true,&quot;picture_toward&quot;:0,&quot;picture_dockside&quot;:[],&quot;fill_id&quot;:&quot;85fe55258c1643f296a379467dde860b&quot;,&quot;fill_align&quot;:&quot;lt&quot;,&quot;chip_types&quot;:[&quot;text&quot;,&quot;header&quot;]}],[{&quot;text_align&quot;:&quot;cb&quot;,&quot;text_direction&quot;:&quot;horizontal&quot;,&quot;support_big_font&quot;:false,&quot;picture_toward&quot;:0,&quot;picture_dockside&quot;:[],&quot;fill_id&quot;:&quot;d689204f4de345a4982605551024dd38&quot;,&quot;fill_align&quot;:&quot;cb&quot;,&quot;chip_types&quot;:[&quot;text&quot;,&quot;header&quot;]},{&quot;text_align&quot;:&quot;ct&quot;,&quot;text_direction&quot;:&quot;horizontal&quot;,&quot;support_big_font&quot;:true,&quot;picture_toward&quot;:0,&quot;picture_dockside&quot;:[],&quot;fill_id&quot;:&quot;85fe55258c1643f296a379467dde860b&quot;,&quot;fill_align&quot;:&quot;ct&quot;,&quot;chip_types&quot;:[&quot;text&quot;,&quot;header&quot;]}]]"/>
  <p:tag name="KSO_WM_CHIP_DECFILLPROP" val="[]"/>
  <p:tag name="KSO_WM_CHIP_GROUPID" val="5fd06e271fa9d42129da2b1f"/>
  <p:tag name="KSO_WM_SLIDE_BK_DARK_LIGHT" val="2"/>
  <p:tag name="KSO_WM_SLIDE_BACKGROUND_TYPE" val="general"/>
  <p:tag name="KSO_WM_SLIDE_SUPPORT_FEATURE_TYPE" val="0"/>
  <p:tag name="KSO_WM_TEMPLATE_ASSEMBLE_XID" val="6065707b4054ed1e2fb81624"/>
  <p:tag name="KSO_WM_TEMPLATE_ASSEMBLE_GROUPID" val="6065707b4054ed1e2fb81624"/>
</p:tagLst>
</file>

<file path=ppt/tags/tag27.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14"/>
  <p:tag name="KSO_WM_UNIT_HIGHLIGHT" val="0"/>
  <p:tag name="KSO_WM_UNIT_COMPATIBLE" val="0"/>
  <p:tag name="KSO_WM_UNIT_DIAGRAM_ISNUMVISUAL" val="0"/>
  <p:tag name="KSO_WM_UNIT_DIAGRAM_ISREFERUNIT" val="0"/>
  <p:tag name="KSO_WM_UNIT_TYPE" val="a"/>
  <p:tag name="KSO_WM_UNIT_INDEX" val="1"/>
  <p:tag name="KSO_WM_UNIT_ID" val="diagram20217322_1*a*1"/>
  <p:tag name="KSO_WM_TEMPLATE_CATEGORY" val="diagram"/>
  <p:tag name="KSO_WM_TEMPLATE_INDEX" val="20217322"/>
  <p:tag name="KSO_WM_UNIT_LAYERLEVEL" val="1"/>
  <p:tag name="KSO_WM_TAG_VERSION" val="1.0"/>
  <p:tag name="KSO_WM_BEAUTIFY_FLAG" val="#wm#"/>
  <p:tag name="KSO_WM_UNIT_PRESET_TEXT" val="单击添加大标题"/>
  <p:tag name="KSO_WM_UNIT_DEFAULT_FONT" val="24;44;4"/>
  <p:tag name="KSO_WM_UNIT_BLOCK" val="0"/>
  <p:tag name="KSO_WM_UNIT_SHOW_EDIT_AREA_INDICATION" val="1"/>
  <p:tag name="KSO_WM_CHIP_GROUPID" val="5e7881253197e252a37019b5"/>
  <p:tag name="KSO_WM_CHIP_XID" val="5e7881253197e252a37019b6"/>
  <p:tag name="KSO_WM_UNIT_DEC_AREA_ID" val="faa9bfbf6b864027bd79edcf7e2f4760"/>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b&quot;,&quot;fill_mode&quot;:&quot;full&quot;,&quot;sacle_strategy&quot;:&quot;smart&quot;}"/>
  <p:tag name="KSO_WM_ASSEMBLE_CHIP_INDEX" val="a83d755770bc4811925d50f07e93cbda"/>
  <p:tag name="KSO_WM_UNIT_TEXT_FILL_FORE_SCHEMECOLOR_INDEX_BRIGHTNESS" val="0"/>
  <p:tag name="KSO_WM_UNIT_TEXT_FILL_FORE_SCHEMECOLOR_INDEX" val="13"/>
  <p:tag name="KSO_WM_UNIT_TEXT_FILL_TYPE" val="1"/>
  <p:tag name="KSO_WM_TEMPLATE_ASSEMBLE_XID" val="6065707b4054ed1e2fb81624"/>
  <p:tag name="KSO_WM_TEMPLATE_ASSEMBLE_GROUPID" val="6065707b4054ed1e2fb81624"/>
</p:tagLst>
</file>

<file path=ppt/tags/tag28.xml><?xml version="1.0" encoding="utf-8"?>
<p:tagLst xmlns:a="http://schemas.openxmlformats.org/drawingml/2006/main" xmlns:r="http://schemas.openxmlformats.org/officeDocument/2006/relationships" xmlns:p="http://schemas.openxmlformats.org/presentationml/2006/main">
  <p:tag name="KSO_WM_UNIT_TEXT_SUBTYPE" val="a"/>
  <p:tag name="KSO_WM_UNIT_SUBTYPE" val="a"/>
  <p:tag name="KSO_WM_UNIT_PRESET_TEXT" val="单击此处添加正文，文字是您思想的提炼，为了演示发布的良好效果，请言简意赅的阐述您的观点。您的内容已经简明扼要，字字珠玑，但信息却千丝万缕、错综复杂，需要用更多的文字来表述；但请您尽可能提炼思想的精髓，否则容易造成观者的阅读压力，适得其反。正如我们都希望改变世界。"/>
  <p:tag name="KSO_WM_UNIT_NOCLEAR" val="0"/>
  <p:tag name="KSO_WM_UNIT_HIGHLIGHT" val="0"/>
  <p:tag name="KSO_WM_UNIT_COMPATIBLE" val="0"/>
  <p:tag name="KSO_WM_UNIT_DIAGRAM_ISNUMVISUAL" val="0"/>
  <p:tag name="KSO_WM_UNIT_DIAGRAM_ISREFERUNIT" val="0"/>
  <p:tag name="KSO_WM_UNIT_TYPE" val="f"/>
  <p:tag name="KSO_WM_UNIT_INDEX" val="1"/>
  <p:tag name="KSO_WM_UNIT_ID" val="diagram20217322_1*f*1"/>
  <p:tag name="KSO_WM_TEMPLATE_CATEGORY" val="diagram"/>
  <p:tag name="KSO_WM_TEMPLATE_INDEX" val="20217322"/>
  <p:tag name="KSO_WM_UNIT_LAYERLEVEL" val="1"/>
  <p:tag name="KSO_WM_TAG_VERSION" val="1.0"/>
  <p:tag name="KSO_WM_BEAUTIFY_FLAG" val="#wm#"/>
  <p:tag name="KSO_WM_UNIT_DEFAULT_FONT" val="14;20;2"/>
  <p:tag name="KSO_WM_UNIT_BLOCK" val="0"/>
  <p:tag name="KSO_WM_UNIT_VALUE" val="150"/>
  <p:tag name="KSO_WM_UNIT_SHOW_EDIT_AREA_INDICATION" val="1"/>
  <p:tag name="KSO_WM_CHIP_GROUPID" val="5e6b05596848fb12bee65ac8"/>
  <p:tag name="KSO_WM_CHIP_XID" val="5e6b05596848fb12bee65aca"/>
  <p:tag name="KSO_WM_UNIT_DEC_AREA_ID" val="7fd9177417ed4b4e98cb66accf0b1503"/>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t&quot;,&quot;fill_mode&quot;:&quot;full&quot;,&quot;sacle_strategy&quot;:&quot;smart&quot;}"/>
  <p:tag name="KSO_WM_ASSEMBLE_CHIP_INDEX" val="7b82cb020e44466db73223756b72bf6e"/>
  <p:tag name="KSO_WM_UNIT_SUPPORT_BIG_FONT" val="1"/>
  <p:tag name="KSO_WM_UNIT_TEXT_FILL_FORE_SCHEMECOLOR_INDEX_BRIGHTNESS" val="0.25"/>
  <p:tag name="KSO_WM_UNIT_TEXT_FILL_FORE_SCHEMECOLOR_INDEX" val="13"/>
  <p:tag name="KSO_WM_UNIT_TEXT_FILL_TYPE" val="1"/>
  <p:tag name="KSO_WM_TEMPLATE_ASSEMBLE_XID" val="6065707b4054ed1e2fb81624"/>
  <p:tag name="KSO_WM_TEMPLATE_ASSEMBLE_GROUPID" val="6065707b4054ed1e2fb81624"/>
</p:tagLst>
</file>

<file path=ppt/tags/tag2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217322_1*i*1"/>
  <p:tag name="KSO_WM_TEMPLATE_CATEGORY" val="diagram"/>
  <p:tag name="KSO_WM_TEMPLATE_INDEX" val="20217322"/>
  <p:tag name="KSO_WM_UNIT_LAYERLEVEL" val="1"/>
  <p:tag name="KSO_WM_TAG_VERSION" val="1.0"/>
  <p:tag name="KSO_WM_BEAUTIFY_FLAG" val="#wm#"/>
  <p:tag name="KSO_WM_UNIT_BLOCK" val="0"/>
  <p:tag name="KSO_WM_UNIT_SM_LIMIT_TYPE" val="2"/>
  <p:tag name="KSO_WM_UNIT_DEC_AREA_ID" val="89366aef16d547de8b4d9212421a9d06"/>
  <p:tag name="KSO_WM_UNIT_DECORATE_INFO" val="{&quot;ReferentInfo&quot;:{&quot;Id&quot;:&quot;slide&quot;,&quot;X&quot;:{&quot;Pos&quot;:1},&quot;Y&quot;:{&quot;Pos&quot;:1}},&quot;DecorateInfoX&quot;:{&quot;Pos&quot;:1,&quot;IsAbs&quot;:false},&quot;DecorateInfoY&quot;:{&quot;Pos&quot;:1,&quot;IsAbs&quot;:false},&quot;DecorateInfoW&quot;:{&quot;IsAbs&quot;:false},&quot;DecorateInfoH&quot;:{&quot;IsAbs&quot;:false},&quot;whChangeMode&quot;:1}"/>
  <p:tag name="KSO_WM_CHIP_GROUPID" val="5fd06e271fa9d42129da2b1f"/>
  <p:tag name="KSO_WM_CHIP_XID" val="5fd06e271fa9d42129da2b20"/>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 name="KSO_WM_UNIT_VALUE" val="4"/>
  <p:tag name="KSO_WM_TEMPLATE_ASSEMBLE_XID" val="6065707b4054ed1e2fb81624"/>
  <p:tag name="KSO_WM_TEMPLATE_ASSEMBLE_GROUPID" val="6065707b4054ed1e2fb81624"/>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 name="KSO_WM_SLIDE_ID" val="diagram20218393_5"/>
  <p:tag name="KSO_WM_TEMPLATE_SUBCATEGORY" val="0"/>
  <p:tag name="KSO_WM_TEMPLATE_MASTER_TYPE" val="0"/>
  <p:tag name="KSO_WM_TEMPLATE_COLOR_TYPE" val="0"/>
  <p:tag name="KSO_WM_SLIDE_ITEM_CNT" val="6"/>
  <p:tag name="KSO_WM_SLIDE_INDEX" val="5"/>
  <p:tag name="KSO_WM_DIAGRAM_GROUP_CODE" val="l1-1"/>
  <p:tag name="KSO_WM_SLIDE_DIAGTYPE" val="l"/>
  <p:tag name="KSO_WM_TAG_VERSION" val="1.0"/>
  <p:tag name="KSO_WM_BEAUTIFY_FLAG" val="#wm#"/>
  <p:tag name="KSO_WM_TEMPLATE_CATEGORY" val="diagram"/>
  <p:tag name="KSO_WM_TEMPLATE_INDEX" val="20218393"/>
  <p:tag name="KSO_WM_SLIDE_LAYOUT" val="a_b_l"/>
  <p:tag name="KSO_WM_SLIDE_LAYOUT_CNT" val="1_1_1"/>
  <p:tag name="KSO_WM_SLIDE_TYPE" val="contents"/>
  <p:tag name="KSO_WM_SLIDE_SUBTYPE" val="diag"/>
</p:tagLst>
</file>

<file path=ppt/tags/tag3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
  <p:tag name="KSO_WM_UNIT_ID" val="diagram20217322_1*i*2"/>
  <p:tag name="KSO_WM_TEMPLATE_CATEGORY" val="diagram"/>
  <p:tag name="KSO_WM_TEMPLATE_INDEX" val="20217322"/>
  <p:tag name="KSO_WM_UNIT_LAYERLEVEL" val="1"/>
  <p:tag name="KSO_WM_TAG_VERSION" val="1.0"/>
  <p:tag name="KSO_WM_BEAUTIFY_FLAG" val="#wm#"/>
  <p:tag name="KSO_WM_UNIT_BLOCK" val="0"/>
  <p:tag name="KSO_WM_UNIT_SM_LIMIT_TYPE" val="2"/>
  <p:tag name="KSO_WM_UNIT_DEC_AREA_ID" val="0362168c89e44694b8ca25d6f7288891"/>
  <p:tag name="KSO_WM_UNIT_DECORATE_INFO" val="{&quot;ReferentInfo&quot;:{&quot;Id&quot;:&quot;slide&quot;,&quot;X&quot;:{&quot;Pos&quot;:1},&quot;Y&quot;:{&quot;Pos&quot;:1}},&quot;DecorateInfoX&quot;:{&quot;Pos&quot;:1,&quot;IsAbs&quot;:false},&quot;DecorateInfoY&quot;:{&quot;Pos&quot;:1,&quot;IsAbs&quot;:false},&quot;DecorateInfoW&quot;:{&quot;IsAbs&quot;:false},&quot;DecorateInfoH&quot;:{&quot;IsAbs&quot;:false},&quot;whChangeMode&quot;:1}"/>
  <p:tag name="KSO_WM_CHIP_GROUPID" val="5fd06e271fa9d42129da2b1f"/>
  <p:tag name="KSO_WM_CHIP_XID" val="5fd06e271fa9d42129da2b20"/>
  <p:tag name="KSO_WM_TEMPLATE_ASSEMBLE_XID" val="6065707b4054ed1e2fb81624"/>
  <p:tag name="KSO_WM_TEMPLATE_ASSEMBLE_GROUPID" val="6065707b4054ed1e2fb81624"/>
</p:tagLst>
</file>

<file path=ppt/tags/tag3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
  <p:tag name="KSO_WM_UNIT_ID" val="diagram20217322_1*i*5"/>
  <p:tag name="KSO_WM_TEMPLATE_CATEGORY" val="diagram"/>
  <p:tag name="KSO_WM_TEMPLATE_INDEX" val="20217322"/>
  <p:tag name="KSO_WM_UNIT_LAYERLEVEL" val="1"/>
  <p:tag name="KSO_WM_TAG_VERSION" val="1.0"/>
  <p:tag name="KSO_WM_BEAUTIFY_FLAG" val="#wm#"/>
  <p:tag name="KSO_WM_UNIT_BLOCK" val="0"/>
  <p:tag name="KSO_WM_UNIT_SM_LIMIT_TYPE" val="2"/>
  <p:tag name="KSO_WM_UNIT_DEC_AREA_ID" val="dd0457fd0af0429ab9fc253a7f863e7e"/>
  <p:tag name="KSO_WM_UNIT_DECORATE_INFO" val="{&quot;ReferentInfo&quot;:{&quot;Id&quot;:&quot;slide&quot;,&quot;X&quot;:{&quot;Pos&quot;:1},&quot;Y&quot;:{&quot;Pos&quot;:1}},&quot;DecorateInfoX&quot;:{&quot;Pos&quot;:1,&quot;IsAbs&quot;:false},&quot;DecorateInfoY&quot;:{&quot;Pos&quot;:1,&quot;IsAbs&quot;:false},&quot;DecorateInfoW&quot;:{&quot;IsAbs&quot;:false},&quot;DecorateInfoH&quot;:{&quot;IsAbs&quot;:false},&quot;whChangeMode&quot;:1}"/>
  <p:tag name="KSO_WM_CHIP_GROUPID" val="5fd06e271fa9d42129da2b1f"/>
  <p:tag name="KSO_WM_CHIP_XID" val="5fd06e271fa9d42129da2b20"/>
  <p:tag name="KSO_WM_UNIT_LINE_FORE_SCHEMECOLOR_INDEX_BRIGHTNESS" val="0"/>
  <p:tag name="KSO_WM_UNIT_LINE_FORE_SCHEMECOLOR_INDEX" val="5"/>
  <p:tag name="KSO_WM_UNIT_LINE_FILL_TYPE" val="2"/>
  <p:tag name="KSO_WM_TEMPLATE_ASSEMBLE_XID" val="6065707b4054ed1e2fb81624"/>
  <p:tag name="KSO_WM_TEMPLATE_ASSEMBLE_GROUPID" val="6065707b4054ed1e2fb81624"/>
</p:tagLst>
</file>

<file path=ppt/tags/tag3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
  <p:tag name="KSO_WM_UNIT_ID" val="diagram20217322_1*i*6"/>
  <p:tag name="KSO_WM_TEMPLATE_CATEGORY" val="diagram"/>
  <p:tag name="KSO_WM_TEMPLATE_INDEX" val="20217322"/>
  <p:tag name="KSO_WM_UNIT_LAYERLEVEL" val="1"/>
  <p:tag name="KSO_WM_TAG_VERSION" val="1.0"/>
  <p:tag name="KSO_WM_BEAUTIFY_FLAG" val="#wm#"/>
  <p:tag name="KSO_WM_UNIT_BLOCK" val="0"/>
  <p:tag name="KSO_WM_UNIT_SM_LIMIT_TYPE" val="2"/>
  <p:tag name="KSO_WM_UNIT_DEC_AREA_ID" val="2ecbf12b5abd4284b7c4e91f68b5afec"/>
  <p:tag name="KSO_WM_UNIT_DECORATE_INFO" val="{&quot;DecorateInfoH&quot;:{&quot;IsAbs&quot;:true},&quot;DecorateInfoW&quot;:{&quot;IsAbs&quot;:true},&quot;DecorateInfoX&quot;:{&quot;IsAbs&quot;:true,&quot;Pos&quot;:1},&quot;DecorateInfoY&quot;:{&quot;IsAbs&quot;:true,&quot;Pos&quot;:0},&quot;ReferentInfo&quot;:{&quot;Id&quot;:&quot;faa9bfbf6b864027bd79edcf7e2f4760&quot;,&quot;X&quot;:{&quot;Pos&quot;:1},&quot;Y&quot;:{&quot;Pos&quot;:2}},&quot;whChangeMode&quot;:0}"/>
  <p:tag name="KSO_WM_CHIP_GROUPID" val="5fd06e271fa9d42129da2b1f"/>
  <p:tag name="KSO_WM_CHIP_XID" val="5fd06e271fa9d42129da2b20"/>
  <p:tag name="KSO_WM_UNIT_LINE_FORE_SCHEMECOLOR_INDEX_BRIGHTNESS" val="0"/>
  <p:tag name="KSO_WM_UNIT_LINE_FORE_SCHEMECOLOR_INDEX" val="13"/>
  <p:tag name="KSO_WM_UNIT_LINE_FILL_TYPE" val="2"/>
  <p:tag name="KSO_WM_TEMPLATE_ASSEMBLE_XID" val="6065707b4054ed1e2fb81624"/>
  <p:tag name="KSO_WM_TEMPLATE_ASSEMBLE_GROUPID" val="6065707b4054ed1e2fb81624"/>
</p:tagLst>
</file>

<file path=ppt/tags/tag3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
  <p:tag name="KSO_WM_UNIT_ID" val="diagram20217322_1*i*3"/>
  <p:tag name="KSO_WM_TEMPLATE_CATEGORY" val="diagram"/>
  <p:tag name="KSO_WM_TEMPLATE_INDEX" val="20217322"/>
  <p:tag name="KSO_WM_UNIT_LAYERLEVEL" val="1"/>
  <p:tag name="KSO_WM_TAG_VERSION" val="1.0"/>
  <p:tag name="KSO_WM_BEAUTIFY_FLAG" val="#wm#"/>
  <p:tag name="KSO_WM_UNIT_SM_LIMIT_TYPE" val="2"/>
  <p:tag name="KSO_WM_CHIP_GROUPID" val="5fd06e271fa9d42129da2b1f"/>
  <p:tag name="KSO_WM_CHIP_XID" val="5fd06e271fa9d42129da2b20"/>
  <p:tag name="KSO_WM_UNIT_LINE_FORE_SCHEMECOLOR_INDEX_BRIGHTNESS" val="0"/>
  <p:tag name="KSO_WM_UNIT_LINE_FORE_SCHEMECOLOR_INDEX" val="5"/>
  <p:tag name="KSO_WM_UNIT_LINE_FILL_TYPE" val="2"/>
  <p:tag name="KSO_WM_TEMPLATE_ASSEMBLE_XID" val="6065707b4054ed1e2fb81624"/>
  <p:tag name="KSO_WM_TEMPLATE_ASSEMBLE_GROUPID" val="6065707b4054ed1e2fb81624"/>
</p:tagLst>
</file>

<file path=ppt/tags/tag3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
  <p:tag name="KSO_WM_UNIT_ID" val="diagram20217322_1*i*4"/>
  <p:tag name="KSO_WM_TEMPLATE_CATEGORY" val="diagram"/>
  <p:tag name="KSO_WM_TEMPLATE_INDEX" val="20217322"/>
  <p:tag name="KSO_WM_UNIT_LAYERLEVEL" val="1"/>
  <p:tag name="KSO_WM_TAG_VERSION" val="1.0"/>
  <p:tag name="KSO_WM_BEAUTIFY_FLAG" val="#wm#"/>
  <p:tag name="KSO_WM_UNIT_SM_LIMIT_TYPE" val="2"/>
  <p:tag name="KSO_WM_CHIP_GROUPID" val="5fd06e271fa9d42129da2b1f"/>
  <p:tag name="KSO_WM_CHIP_XID" val="5fd06e271fa9d42129da2b20"/>
  <p:tag name="KSO_WM_UNIT_LINE_FORE_SCHEMECOLOR_INDEX_BRIGHTNESS" val="0"/>
  <p:tag name="KSO_WM_UNIT_LINE_FORE_SCHEMECOLOR_INDEX" val="5"/>
  <p:tag name="KSO_WM_UNIT_LINE_FILL_TYPE" val="2"/>
  <p:tag name="KSO_WM_TEMPLATE_ASSEMBLE_XID" val="6065707b4054ed1e2fb81624"/>
  <p:tag name="KSO_WM_TEMPLATE_ASSEMBLE_GROUPID" val="6065707b4054ed1e2fb81624"/>
</p:tagLst>
</file>

<file path=ppt/tags/tag3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6.xml><?xml version="1.0" encoding="utf-8"?>
<p:tagLst xmlns:a="http://schemas.openxmlformats.org/drawingml/2006/main" xmlns:r="http://schemas.openxmlformats.org/officeDocument/2006/relationships" xmlns:p="http://schemas.openxmlformats.org/presentationml/2006/main">
  <p:tag name="ISLIDE.THEME" val="https://www.islide.cc;"/>
  <p:tag name="KSO_WM_SLIDE_ID" val="diagram20213037_1"/>
  <p:tag name="KSO_WM_TEMPLATE_SUBCATEGORY" val="21"/>
  <p:tag name="KSO_WM_TEMPLATE_MASTER_TYPE" val="0"/>
  <p:tag name="KSO_WM_TEMPLATE_COLOR_TYPE" val="1"/>
  <p:tag name="KSO_WM_SLIDE_TYPE" val="text"/>
  <p:tag name="KSO_WM_SLIDE_SUBTYPE" val="pureTxt"/>
  <p:tag name="KSO_WM_SLIDE_ITEM_CNT" val="0"/>
  <p:tag name="KSO_WM_SLIDE_INDEX" val="1"/>
  <p:tag name="KSO_WM_SLIDE_SIZE" val="816*395"/>
  <p:tag name="KSO_WM_SLIDE_POSITION" val="71*72"/>
  <p:tag name="KSO_WM_TAG_VERSION" val="1.0"/>
  <p:tag name="KSO_WM_BEAUTIFY_FLAG" val="#wm#"/>
  <p:tag name="KSO_WM_TEMPLATE_CATEGORY" val="diagram"/>
  <p:tag name="KSO_WM_TEMPLATE_INDEX" val="20213037"/>
  <p:tag name="KSO_WM_SLIDE_LAYOUT" val="a_b_f"/>
  <p:tag name="KSO_WM_SLIDE_LAYOUT_CNT" val="1_1_1"/>
  <p:tag name="KSO_WM_SLIDE_CAN_ADD_NAVIGATION" val="1"/>
  <p:tag name="KSO_WM_SLIDE_RATIO" val="1.777778"/>
  <p:tag name="KSO_WM_SLIDE_LAYOUT_INFO" val="{&quot;backgroundInfo&quot;:[{&quot;bottom&quot;:0,&quot;bottomAbs&quot;:false,&quot;left&quot;:0,&quot;leftAbs&quot;:false,&quot;right&quot;:0,&quot;rightAbs&quot;:false,&quot;top&quot;:0,&quot;topAbs&quot;:false,&quot;type&quot;:&quot;general&quot;}],&quot;direction&quot;:1,&quot;id&quot;:&quot;2021-04-01T15:32:57&quot;,&quot;maxSize&quot;:{&quot;size1&quot;:44.46280325253804},&quot;minSize&quot;:{&quot;size1&quot;:44.46280325253804},&quot;normalSize&quot;:{&quot;size1&quot;:44.46280325253804},&quot;subLayout&quot;:[{&quot;direction&quot;:1,&quot;id&quot;:&quot;2021-04-01T15:32:57&quot;,&quot;margin&quot;:{&quot;bottom&quot;:5.927000999450684,&quot;left&quot;:3.809999942779541,&quot;right&quot;:0,&quot;top&quot;:5.079999923706055},&quot;type&quot;:0},{&quot;id&quot;:&quot;2021-04-01T15:32:57&quot;,&quot;margin&quot;:{&quot;bottom&quot;:2.5399999618530273,&quot;left&quot;:1.2699999809265137,&quot;right&quot;:4.2330002784729,&quot;top&quot;:2.5399999618530273},&quot;type&quot;:0}],&quot;type&quot;:0}"/>
  <p:tag name="KSO_WM_CHIP_INFOS" val="{&quot;type&quot;:0,&quot;layout_type&quot;:&quot;leftright&quot;,&quot;layout_feature&quot;:1,&quot;aspect_ratio&quot;:&quot;16:9&quot;,&quot;same_font_size&quot;:false,&quot;diagram&quot;:{&quot;type&quot;:[],&quot;direction&quot;:0,&quot;isSupportDecBetweenItems&quot;:false},&quot;tags&quot;:{&quot;style&quot;:[&quot;商务&quot;,&quot;简约&quot;,&quot;文艺清新&quot;,&quot;中国风&quot;,&quot;卡通&quot;,&quot;欧美风&quot;,&quot;黑板风&quot;,&quot;渐变风&quot;,&quot;党政风&quot;]},&quot;slide_type&quot;:[&quot;text&quot;]}"/>
  <p:tag name="KSO_WM_CHIP_FILLPROP" val="[[{&quot;text_align&quot;:&quot;lm&quot;,&quot;text_direction&quot;:&quot;horizontal&quot;,&quot;support_big_font&quot;:true,&quot;fill_id&quot;:&quot;9d7e0772fe1b40ea8322166792423364&quot;,&quot;fill_align&quot;:&quot;cm&quot;,&quot;chip_types&quot;:[&quot;text&quot;,&quot;header&quot;]},{&quot;text_align&quot;:&quot;lm&quot;,&quot;text_direction&quot;:&quot;horizontal&quot;,&quot;support_features&quot;:[&quot;carousel&quot;],&quot;support_big_font&quot;:true,&quot;fill_id&quot;:&quot;813a440e5afc4a72b00f4c036d03f93b&quot;,&quot;fill_align&quot;:&quot;cm&quot;,&quot;chip_types&quot;:[&quot;text&quot;,&quot;picture&quot;,&quot;chart&quot;,&quot;table&quot;,&quot;video&quot;]}],[{&quot;text_align&quot;:&quot;cm&quot;,&quot;text_direction&quot;:&quot;horizontal&quot;,&quot;support_big_font&quot;:true,&quot;fill_id&quot;:&quot;9d7e0772fe1b40ea8322166792423364&quot;,&quot;fill_align&quot;:&quot;cm&quot;,&quot;chip_types&quot;:[&quot;text&quot;,&quot;header&quot;]},{&quot;text_align&quot;:&quot;lm&quot;,&quot;text_direction&quot;:&quot;horizontal&quot;,&quot;support_features&quot;:[&quot;carousel&quot;],&quot;support_big_font&quot;:true,&quot;fill_id&quot;:&quot;813a440e5afc4a72b00f4c036d03f93b&quot;,&quot;fill_align&quot;:&quot;cm&quot;,&quot;chip_types&quot;:[&quot;text&quot;,&quot;picture&quot;,&quot;chart&quot;,&quot;table&quot;,&quot;video&quot;]}]]"/>
  <p:tag name="KSO_WM_SLIDE_BACKGROUND" val="[&quot;general&quot;]"/>
  <p:tag name="KSO_WM_CHIP_XID" val="5eedbca6fa6683b8872baa7e"/>
  <p:tag name="KSO_WM_CHIP_DECFILLPROP" val="[]"/>
  <p:tag name="KSO_WM_CHIP_GROUPID" val="5eedbca6fa6683b8872baa7d"/>
  <p:tag name="KSO_WM_SLIDE_BK_DARK_LIGHT" val="2"/>
  <p:tag name="KSO_WM_SLIDE_BACKGROUND_TYPE" val="general"/>
  <p:tag name="KSO_WM_SLIDE_SUPPORT_FEATURE_TYPE" val="0"/>
  <p:tag name="KSO_WM_TEMPLATE_ASSEMBLE_XID" val="60656f2f4054ed1e2fb80529"/>
  <p:tag name="KSO_WM_TEMPLATE_ASSEMBLE_GROUPID" val="60656f2f4054ed1e2fb80529"/>
</p:tagLst>
</file>

<file path=ppt/tags/tag3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213037_1*i*1"/>
  <p:tag name="KSO_WM_TEMPLATE_CATEGORY" val="diagram"/>
  <p:tag name="KSO_WM_TEMPLATE_INDEX" val="20213037"/>
  <p:tag name="KSO_WM_UNIT_LAYERLEVEL" val="1"/>
  <p:tag name="KSO_WM_TAG_VERSION" val="1.0"/>
  <p:tag name="KSO_WM_BEAUTIFY_FLAG" val="#wm#"/>
  <p:tag name="KSO_WM_UNIT_BLOCK" val="0"/>
  <p:tag name="KSO_WM_UNIT_SM_LIMIT_TYPE" val="2"/>
  <p:tag name="KSO_WM_UNIT_DECORATE_INFO" val="{&quot;ReferentInfo&quot;:{&quot;Id&quot;:&quot;slide&quot;,&quot;X&quot;:{&quot;Pos&quot;:1},&quot;Y&quot;:{&quot;Pos&quot;:1}},&quot;DecorateInfoX&quot;:{&quot;Pos&quot;:1,&quot;IsAbs&quot;:false},&quot;DecorateInfoY&quot;:{&quot;Pos&quot;:1,&quot;IsAbs&quot;:false},&quot;DecorateInfoW&quot;:{&quot;IsAbs&quot;:false},&quot;DecorateInfoH&quot;:{&quot;IsAbs&quot;:false},&quot;whChangeMode&quot;:0}"/>
  <p:tag name="KSO_WM_UNIT_DEC_AREA_ID" val="544e3ac726024a87a4e983faf016091e"/>
  <p:tag name="KSO_WM_CHIP_GROUPID" val="5eedbca6fa6683b8872baa7d"/>
  <p:tag name="KSO_WM_CHIP_XID" val="5eedbca6fa6683b8872baa7e"/>
  <p:tag name="KSO_WM_UNIT_TEXT_FILL_FORE_SCHEMECOLOR_INDEX_BRIGHTNESS" val="0"/>
  <p:tag name="KSO_WM_UNIT_TEXT_FILL_FORE_SCHEMECOLOR_INDEX" val="2"/>
  <p:tag name="KSO_WM_UNIT_TEXT_FILL_TYPE" val="1"/>
  <p:tag name="KSO_WM_UNIT_VALUE" val="675"/>
  <p:tag name="KSO_WM_TEMPLATE_ASSEMBLE_XID" val="60656f2f4054ed1e2fb80529"/>
  <p:tag name="KSO_WM_TEMPLATE_ASSEMBLE_GROUPID" val="60656f2f4054ed1e2fb80529"/>
</p:tagLst>
</file>

<file path=ppt/tags/tag3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
  <p:tag name="KSO_WM_UNIT_ID" val="diagram20213037_1*i*2"/>
  <p:tag name="KSO_WM_TEMPLATE_CATEGORY" val="diagram"/>
  <p:tag name="KSO_WM_TEMPLATE_INDEX" val="20213037"/>
  <p:tag name="KSO_WM_UNIT_LAYERLEVEL" val="1"/>
  <p:tag name="KSO_WM_TAG_VERSION" val="1.0"/>
  <p:tag name="KSO_WM_BEAUTIFY_FLAG" val="#wm#"/>
  <p:tag name="KSO_WM_UNIT_SM_LIMIT_TYPE" val="2"/>
  <p:tag name="KSO_WM_UNIT_BLOCK" val="0"/>
  <p:tag name="KSO_WM_UNIT_DEC_AREA_ID" val="a9c2b6eb11da47fb875a3341252664a3"/>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1}"/>
  <p:tag name="KSO_WM_CHIP_GROUPID" val="5eedbca6fa6683b8872baa7d"/>
  <p:tag name="KSO_WM_CHIP_XID" val="5eedbca6fa6683b8872baa7e"/>
  <p:tag name="KSO_WM_UNIT_VALUE" val="20"/>
  <p:tag name="KSO_WM_TEMPLATE_ASSEMBLE_XID" val="60656f2f4054ed1e2fb80529"/>
  <p:tag name="KSO_WM_TEMPLATE_ASSEMBLE_GROUPID" val="60656f2f4054ed1e2fb80529"/>
</p:tagLst>
</file>

<file path=ppt/tags/tag3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
  <p:tag name="KSO_WM_UNIT_ID" val="diagram20213037_1*i*3"/>
  <p:tag name="KSO_WM_TEMPLATE_CATEGORY" val="diagram"/>
  <p:tag name="KSO_WM_TEMPLATE_INDEX" val="20213037"/>
  <p:tag name="KSO_WM_UNIT_LAYERLEVEL" val="1"/>
  <p:tag name="KSO_WM_TAG_VERSION" val="1.0"/>
  <p:tag name="KSO_WM_BEAUTIFY_FLAG" val="#wm#"/>
  <p:tag name="KSO_WM_UNIT_SM_LIMIT_TYPE" val="2"/>
  <p:tag name="KSO_WM_UNIT_BLOCK" val="0"/>
  <p:tag name="KSO_WM_UNIT_DEC_AREA_ID" val="30c65084b8f1453cb909e9c6048ae1c4"/>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CHIP_GROUPID" val="5eedbca6fa6683b8872baa7d"/>
  <p:tag name="KSO_WM_CHIP_XID" val="5eedbca6fa6683b8872baa7e"/>
  <p:tag name="KSO_WM_UNIT_TEXT_FILL_FORE_SCHEMECOLOR_INDEX_BRIGHTNESS" val="0"/>
  <p:tag name="KSO_WM_UNIT_TEXT_FILL_FORE_SCHEMECOLOR_INDEX" val="14"/>
  <p:tag name="KSO_WM_UNIT_TEXT_FILL_TYPE" val="1"/>
  <p:tag name="KSO_WM_UNIT_VALUE" val="3"/>
  <p:tag name="KSO_WM_TEMPLATE_ASSEMBLE_XID" val="60656f2f4054ed1e2fb80529"/>
  <p:tag name="KSO_WM_TEMPLATE_ASSEMBLE_GROUPID" val="60656f2f4054ed1e2fb80529"/>
</p:tagLst>
</file>

<file path=ppt/tags/tag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i"/>
  <p:tag name="KSO_WM_UNIT_INDEX" val="1"/>
  <p:tag name="KSO_WM_UNIT_ID" val="diagram20218393_5*i*1"/>
  <p:tag name="KSO_WM_TEMPLATE_CATEGORY" val="diagram"/>
  <p:tag name="KSO_WM_TEMPLATE_INDEX" val="20218393"/>
  <p:tag name="KSO_WM_UNIT_LAYERLEVEL" val="1"/>
  <p:tag name="KSO_WM_TAG_VERSION" val="1.0"/>
  <p:tag name="KSO_WM_BEAUTIFY_FLAG" val="#wm#"/>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 name="KSO_WM_UNIT_USESOURCEFORMAT_APPLY" val="1"/>
</p:tagLst>
</file>

<file path=ppt/tags/tag4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
  <p:tag name="KSO_WM_UNIT_ID" val="diagram20213037_1*i*4"/>
  <p:tag name="KSO_WM_TEMPLATE_CATEGORY" val="diagram"/>
  <p:tag name="KSO_WM_TEMPLATE_INDEX" val="20213037"/>
  <p:tag name="KSO_WM_UNIT_LAYERLEVEL" val="1"/>
  <p:tag name="KSO_WM_TAG_VERSION" val="1.0"/>
  <p:tag name="KSO_WM_BEAUTIFY_FLAG" val="#wm#"/>
  <p:tag name="KSO_WM_UNIT_BLOCK" val="0"/>
  <p:tag name="KSO_WM_UNIT_SM_LIMIT_TYPE" val="2"/>
  <p:tag name="KSO_WM_UNIT_DECORATE_INFO" val="{&quot;DecorateInfoH&quot;:{&quot;IsAbs&quot;:true},&quot;DecorateInfoW&quot;:{&quot;IsAbs&quot;:true},&quot;DecorateInfoX&quot;:{&quot;IsAbs&quot;:true,&quot;Pos&quot;:1},&quot;DecorateInfoY&quot;:{&quot;IsAbs&quot;:true,&quot;Pos&quot;:1},&quot;ReferentInfo&quot;:{&quot;Id&quot;:&quot;6d5d05a0fa704ca78d815b691b126e6e&quot;,&quot;X&quot;:{&quot;Pos&quot;:1},&quot;Y&quot;:{&quot;Pos&quot;:1}},&quot;whChangeMode&quot;:0}"/>
  <p:tag name="KSO_WM_UNIT_DEC_AREA_ID" val="f48faf2e5afa444d87cc408bef1b83c8"/>
  <p:tag name="KSO_WM_CHIP_GROUPID" val="5eedbca6fa6683b8872baa7d"/>
  <p:tag name="KSO_WM_CHIP_XID" val="5eedbca6fa6683b8872baa7e"/>
  <p:tag name="KSO_WM_UNIT_SHADOW_SCHEMECOLOR_INDEX_BRIGHTNESS" val="0.05"/>
  <p:tag name="KSO_WM_UNIT_SHADOW_SCHEMECOLOR_INDEX" val="13"/>
  <p:tag name="KSO_WM_UNIT_TEXT_FILL_FORE_SCHEMECOLOR_INDEX_BRIGHTNESS" val="0"/>
  <p:tag name="KSO_WM_UNIT_TEXT_FILL_FORE_SCHEMECOLOR_INDEX" val="14"/>
  <p:tag name="KSO_WM_UNIT_TEXT_FILL_TYPE" val="1"/>
  <p:tag name="KSO_WM_UNIT_VALUE" val="480"/>
  <p:tag name="KSO_WM_TEMPLATE_ASSEMBLE_XID" val="60656f2f4054ed1e2fb80529"/>
  <p:tag name="KSO_WM_TEMPLATE_ASSEMBLE_GROUPID" val="60656f2f4054ed1e2fb80529"/>
</p:tagLst>
</file>

<file path=ppt/tags/tag41.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PRESET_TEXT" val="单击添加大标题"/>
  <p:tag name="KSO_WM_UNIT_NOCLEAR" val="0"/>
  <p:tag name="KSO_WM_UNIT_SHOW_EDIT_AREA_INDICATION" val="1"/>
  <p:tag name="KSO_WM_UNIT_VALUE" val="14"/>
  <p:tag name="KSO_WM_UNIT_HIGHLIGHT" val="0"/>
  <p:tag name="KSO_WM_UNIT_COMPATIBLE" val="0"/>
  <p:tag name="KSO_WM_UNIT_DIAGRAM_ISNUMVISUAL" val="0"/>
  <p:tag name="KSO_WM_UNIT_DIAGRAM_ISREFERUNIT" val="0"/>
  <p:tag name="KSO_WM_UNIT_TYPE" val="a"/>
  <p:tag name="KSO_WM_UNIT_INDEX" val="1"/>
  <p:tag name="KSO_WM_UNIT_ID" val="diagram20213037_1*a*1"/>
  <p:tag name="KSO_WM_TEMPLATE_CATEGORY" val="diagram"/>
  <p:tag name="KSO_WM_TEMPLATE_INDEX" val="20213037"/>
  <p:tag name="KSO_WM_UNIT_LAYERLEVEL" val="1"/>
  <p:tag name="KSO_WM_TAG_VERSION" val="1.0"/>
  <p:tag name="KSO_WM_BEAUTIFY_FLAG" val="#wm#"/>
  <p:tag name="KSO_WM_CHIP_GROUPID" val="5f461bcef3f92eac738049c8"/>
  <p:tag name="KSO_WM_CHIP_XID" val="5f461bcef3f92eac738049c9"/>
  <p:tag name="KSO_WM_UNIT_DEC_AREA_ID" val="5d40ba3b4f08483aba4ca84096e79911"/>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cm&quot;,&quot;fill_mode&quot;:&quot;full&quot;,&quot;sacle_strategy&quot;:&quot;smart&quot;}"/>
  <p:tag name="KSO_WM_ASSEMBLE_CHIP_INDEX" val="439a40635d92487f98fe6d1c9b8ee039"/>
  <p:tag name="KSO_WM_UNIT_SUPPORT_BIG_FONT" val="1"/>
  <p:tag name="KSO_WM_UNIT_TEXT_FILL_FORE_SCHEMECOLOR_INDEX_BRIGHTNESS" val="0"/>
  <p:tag name="KSO_WM_UNIT_TEXT_FILL_FORE_SCHEMECOLOR_INDEX" val="13"/>
  <p:tag name="KSO_WM_UNIT_TEXT_FILL_TYPE" val="1"/>
  <p:tag name="KSO_WM_TEMPLATE_ASSEMBLE_XID" val="60656f2f4054ed1e2fb80529"/>
  <p:tag name="KSO_WM_TEMPLATE_ASSEMBLE_GROUPID" val="60656f2f4054ed1e2fb80529"/>
</p:tagLst>
</file>

<file path=ppt/tags/tag42.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PRESET_TEXT" val="添加副标题"/>
  <p:tag name="KSO_WM_UNIT_NOCLEAR" val="0"/>
  <p:tag name="KSO_WM_UNIT_SHOW_EDIT_AREA_INDICATION" val="1"/>
  <p:tag name="KSO_WM_UNIT_VALUE" val="15"/>
  <p:tag name="KSO_WM_UNIT_HIGHLIGHT" val="0"/>
  <p:tag name="KSO_WM_UNIT_COMPATIBLE" val="0"/>
  <p:tag name="KSO_WM_UNIT_DIAGRAM_ISNUMVISUAL" val="0"/>
  <p:tag name="KSO_WM_UNIT_DIAGRAM_ISREFERUNIT" val="0"/>
  <p:tag name="KSO_WM_UNIT_TYPE" val="b"/>
  <p:tag name="KSO_WM_UNIT_INDEX" val="1"/>
  <p:tag name="KSO_WM_UNIT_ID" val="diagram20213037_1*b*1"/>
  <p:tag name="KSO_WM_TEMPLATE_CATEGORY" val="diagram"/>
  <p:tag name="KSO_WM_TEMPLATE_INDEX" val="20213037"/>
  <p:tag name="KSO_WM_UNIT_LAYERLEVEL" val="1"/>
  <p:tag name="KSO_WM_TAG_VERSION" val="1.0"/>
  <p:tag name="KSO_WM_BEAUTIFY_FLAG" val="#wm#"/>
  <p:tag name="KSO_WM_CHIP_GROUPID" val="5f461bcef3f92eac738049c8"/>
  <p:tag name="KSO_WM_CHIP_XID" val="5f461bcef3f92eac738049c9"/>
  <p:tag name="KSO_WM_UNIT_DEC_AREA_ID" val="d0a91e7182d848b99fa5cd1171940b8f"/>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cm&quot;,&quot;fill_mode&quot;:&quot;full&quot;,&quot;sacle_strategy&quot;:&quot;smart&quot;}"/>
  <p:tag name="KSO_WM_ASSEMBLE_CHIP_INDEX" val="439a40635d92487f98fe6d1c9b8ee039"/>
  <p:tag name="KSO_WM_UNIT_SUPPORT_BIG_FONT" val="1"/>
  <p:tag name="KSO_WM_UNIT_TEXT_FILL_FORE_SCHEMECOLOR_INDEX_BRIGHTNESS" val="-0.5"/>
  <p:tag name="KSO_WM_UNIT_TEXT_FILL_FORE_SCHEMECOLOR_INDEX" val="14"/>
  <p:tag name="KSO_WM_UNIT_TEXT_FILL_TYPE" val="1"/>
  <p:tag name="KSO_WM_TEMPLATE_ASSEMBLE_XID" val="60656f2f4054ed1e2fb80529"/>
  <p:tag name="KSO_WM_TEMPLATE_ASSEMBLE_GROUPID" val="60656f2f4054ed1e2fb80529"/>
</p:tagLst>
</file>

<file path=ppt/tags/tag43.xml><?xml version="1.0" encoding="utf-8"?>
<p:tagLst xmlns:a="http://schemas.openxmlformats.org/drawingml/2006/main" xmlns:r="http://schemas.openxmlformats.org/officeDocument/2006/relationships" xmlns:p="http://schemas.openxmlformats.org/presentationml/2006/main">
  <p:tag name="KSO_WM_UNIT_TEXT_SUBTYPE" val="a"/>
  <p:tag name="KSO_WM_UNIT_SUBTYPE" val="a"/>
  <p:tag name="KSO_WM_UNIT_PRESET_TEXT" val="单击此处添加正文，文字是您思想的提炼，为了演示发布的良好效果，请言简意赅的阐述您的观点。您的内容已经简明扼要，字字珠玑，但信息却千丝万缕、错综复杂，需要用更多的文字来表述；但请您尽可能提炼思想的精髓，否则容易造成观者的阅读压力，适得其反。正如我们都希望改变世界，希望给别人带去光明，但更多时候我们只需要播下一颗种子，自然有微风吹拂，雨露滋养。"/>
  <p:tag name="KSO_WM_UNIT_NOCLEAR" val="0"/>
  <p:tag name="KSO_WM_UNIT_HIGHLIGHT" val="0"/>
  <p:tag name="KSO_WM_UNIT_COMPATIBLE" val="0"/>
  <p:tag name="KSO_WM_UNIT_DIAGRAM_ISNUMVISUAL" val="0"/>
  <p:tag name="KSO_WM_UNIT_DIAGRAM_ISREFERUNIT" val="0"/>
  <p:tag name="KSO_WM_UNIT_TYPE" val="f"/>
  <p:tag name="KSO_WM_UNIT_INDEX" val="1"/>
  <p:tag name="KSO_WM_UNIT_ID" val="diagram20213037_1*f*1"/>
  <p:tag name="KSO_WM_TEMPLATE_CATEGORY" val="diagram"/>
  <p:tag name="KSO_WM_TEMPLATE_INDEX" val="20213037"/>
  <p:tag name="KSO_WM_UNIT_LAYERLEVEL" val="1"/>
  <p:tag name="KSO_WM_TAG_VERSION" val="1.0"/>
  <p:tag name="KSO_WM_BEAUTIFY_FLAG" val="#wm#"/>
  <p:tag name="KSO_WM_UNIT_DEFAULT_FONT" val="14;20;2"/>
  <p:tag name="KSO_WM_UNIT_BLOCK" val="0"/>
  <p:tag name="KSO_WM_UNIT_VALUE" val="204"/>
  <p:tag name="KSO_WM_UNIT_SHOW_EDIT_AREA_INDICATION" val="1"/>
  <p:tag name="KSO_WM_CHIP_GROUPID" val="5e6b05596848fb12bee65ac8"/>
  <p:tag name="KSO_WM_CHIP_XID" val="5e6b05596848fb12bee65aca"/>
  <p:tag name="KSO_WM_UNIT_DEC_AREA_ID" val="6d5d05a0fa704ca78d815b691b126e6e"/>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cm&quot;,&quot;fill_mode&quot;:&quot;full&quot;,&quot;sacle_strategy&quot;:&quot;smart&quot;}"/>
  <p:tag name="KSO_WM_ASSEMBLE_CHIP_INDEX" val="810e983a6a594ff1af65f5eef789044e"/>
  <p:tag name="KSO_WM_UNIT_SUPPORT_BIG_FONT" val="1"/>
  <p:tag name="KSO_WM_UNIT_SUPPORT_UNIT_TYPE" val="[&quot;d&quot;,&quot;α&quot;,&quot;β&quot;,&quot;θ&quot;]"/>
  <p:tag name="KSO_WM_UNIT_TEXT_FILL_FORE_SCHEMECOLOR_INDEX_BRIGHTNESS" val="0.25"/>
  <p:tag name="KSO_WM_UNIT_TEXT_FILL_FORE_SCHEMECOLOR_INDEX" val="13"/>
  <p:tag name="KSO_WM_UNIT_TEXT_FILL_TYPE" val="1"/>
  <p:tag name="KSO_WM_TEMPLATE_ASSEMBLE_XID" val="60656f2f4054ed1e2fb80529"/>
  <p:tag name="KSO_WM_TEMPLATE_ASSEMBLE_GROUPID" val="60656f2f4054ed1e2fb80529"/>
</p:tagLst>
</file>

<file path=ppt/tags/tag44.xml><?xml version="1.0" encoding="utf-8"?>
<p:tagLst xmlns:a="http://schemas.openxmlformats.org/drawingml/2006/main" xmlns:r="http://schemas.openxmlformats.org/officeDocument/2006/relationships" xmlns:p="http://schemas.openxmlformats.org/presentationml/2006/main">
  <p:tag name="ISLIDE.THEME" val="https://www.islide.cc;"/>
  <p:tag name="KSO_WM_SLIDE_ID" val="diagram20211237_1"/>
  <p:tag name="KSO_WM_TEMPLATE_SUBCATEGORY" val="21"/>
  <p:tag name="KSO_WM_TEMPLATE_MASTER_TYPE" val="0"/>
  <p:tag name="KSO_WM_TEMPLATE_COLOR_TYPE" val="1"/>
  <p:tag name="KSO_WM_SLIDE_TYPE" val="text"/>
  <p:tag name="KSO_WM_SLIDE_SUBTYPE" val="pureTxt"/>
  <p:tag name="KSO_WM_SLIDE_ITEM_CNT" val="0"/>
  <p:tag name="KSO_WM_SLIDE_INDEX" val="1"/>
  <p:tag name="KSO_WM_SLIDE_SIZE" val="479.952*276.702"/>
  <p:tag name="KSO_WM_SLIDE_POSITION" val="240.002*191.301"/>
  <p:tag name="KSO_WM_TAG_VERSION" val="1.0"/>
  <p:tag name="KSO_WM_BEAUTIFY_FLAG" val="#wm#"/>
  <p:tag name="KSO_WM_TEMPLATE_CATEGORY" val="diagram"/>
  <p:tag name="KSO_WM_TEMPLATE_INDEX" val="20211237"/>
  <p:tag name="KSO_WM_SLIDE_LAYOUT" val="a_h"/>
  <p:tag name="KSO_WM_SLIDE_LAYOUT_CNT" val="1_1"/>
  <p:tag name="KSO_WM_SLIDE_LAYOUT_INFO" val="{&quot;id&quot;:&quot;2021-04-01T15:11:24&quot;,&quot;maxSize&quot;:{&quot;size1&quot;:13.3},&quot;minSize&quot;:{&quot;size1&quot;:13.3},&quot;normalSize&quot;:{&quot;size1&quot;:13.3},&quot;subLayout&quot;:[{&quot;backgroundInfo&quot;:[{&quot;bottom&quot;:0,&quot;bottomAbs&quot;:false,&quot;left&quot;:0,&quot;leftAbs&quot;:false,&quot;right&quot;:0,&quot;rightAbs&quot;:false,&quot;top&quot;:0,&quot;topAbs&quot;:false,&quot;type&quot;:&quot;navigation&quot;}],&quot;id&quot;:&quot;2021-04-01T15:11:24&quot;,&quot;margin&quot;:{&quot;bottom&quot;:0.4230000674724579,&quot;left&quot;:1.2699999809265137,&quot;right&quot;:1.2699999809265137,&quot;top&quot;:0.4230000674724579},&quot;type&quot;:0},{&quot;id&quot;:&quot;2021-04-01T15:11:24&quot;,&quot;margin&quot;:{&quot;bottom&quot;:2.117000102996826,&quot;left&quot;:7.619999885559082,&quot;right&quot;:7.619999885559082,&quot;top&quot;:2.117000102996826},&quot;maxSize&quot;:{&quot;size1&quot;:40.519052914176974},&quot;minSize&quot;:{&quot;size1&quot;:24.61905291417697},&quot;normalSize&quot;:{&quot;size1&quot;:24.61905291417697},&quot;subLayout&quot;:[{&quot;id&quot;:&quot;2021-04-01T15:11:24&quot;,&quot;margin&quot;:{&quot;bottom&quot;:0.04693020507693291,&quot;left&quot;:7.619999885559082,&quot;right&quot;:7.619999885559082,&quot;top&quot;:2.117000102996826},&quot;type&quot;:0},{&quot;id&quot;:&quot;2021-04-01T15:11:24&quot;,&quot;margin&quot;:{&quot;bottom&quot;:2.117000102996826,&quot;left&quot;:7.619999885559082,&quot;right&quot;:7.619999885559082,&quot;top&quot;:0.14886131882667542},&quot;type&quot;:0}],&quot;type&quot;:0}],&quot;type&quot;:0}"/>
  <p:tag name="KSO_WM_SLIDE_BACKGROUND" val="[&quot;navigation&quot;]"/>
  <p:tag name="KSO_WM_SLIDE_RATIO" val="1.777778"/>
  <p:tag name="KSO_WM_CHIP_INFOS" val="{&quot;type&quot;:0,&quot;layout_type&quot;:&quot;navigation&quot;,&quot;layout_feature&quot;:1,&quot;aspect_ratio&quot;:&quot;16:9&quot;,&quot;same_font_size&quot;:false,&quot;diagram&quot;:{&quot;type&quot;:[],&quot;direction&quot;:0,&quot;isSupportDecBetweenItems&quot;:false},&quot;tags&quot;:{&quot;style&quot;:[&quot;商务&quot;,&quot;简约&quot;,&quot;文艺清新&quot;,&quot;中国风&quot;,&quot;卡通&quot;,&quot;欧美风&quot;,&quot;黑板风&quot;,&quot;渐变风&quot;,&quot;党政风&quot;]},&quot;slide_type&quot;:[&quot;text&quot;]}"/>
  <p:tag name="KSO_WM_CHIP_XID" val="5f5f3b658e478fb0c58a9404"/>
  <p:tag name="KSO_WM_CHIP_FILLPROP" val="[[{&quot;text_align&quot;:&quot;lm&quot;,&quot;text_direction&quot;:&quot;horizontal&quot;,&quot;support_big_font&quot;:false,&quot;picture_toward&quot;:0,&quot;picture_dockside&quot;:[],&quot;fill_id&quot;:&quot;c934b58042b44607bfcc30469ccc57d1&quot;,&quot;fill_align&quot;:&quot;lm&quot;,&quot;chip_types&quot;:[&quot;header&quot;]},{&quot;text_align&quot;:&quot;lm&quot;,&quot;text_direction&quot;:&quot;horizontal&quot;,&quot;support_features&quot;:[&quot;collage&quot;],&quot;support_big_font&quot;:false,&quot;picture_toward&quot;:0,&quot;picture_dockside&quot;:[],&quot;fill_id&quot;:&quot;2ca697fb6ed3405a815a26366cd6d128&quot;,&quot;fill_align&quot;:&quot;cm&quot;,&quot;chip_types&quot;:[&quot;diagram&quot;,&quot;text&quot;,&quot;picture&quot;,&quot;chart&quot;,&quot;table&quot;,&quot;video&quot;]}]]"/>
  <p:tag name="FIXED_XID_TMP" val="5f5ee1ca4d6848d78f644aeb"/>
  <p:tag name="KSO_WM_SLIDE_CAN_ADD_NAVIGATION" val="1"/>
  <p:tag name="KSO_WM_CHIP_DECFILLPROP" val="[]"/>
  <p:tag name="KSO_WM_CHIP_GROUPID" val="5f5ee1ca4d6848d78f644aeb"/>
  <p:tag name="KSO_WM_SLIDE_BK_DARK_LIGHT" val="2"/>
  <p:tag name="KSO_WM_SLIDE_BACKGROUND_TYPE" val="navigation"/>
  <p:tag name="KSO_WM_SLIDE_SUPPORT_FEATURE_TYPE" val="0"/>
  <p:tag name="KSO_WM_TEMPLATE_ASSEMBLE_XID" val="60656ea94054ed1e2fb7fd48"/>
  <p:tag name="KSO_WM_TEMPLATE_ASSEMBLE_GROUPID" val="60656ea94054ed1e2fb7fd48"/>
</p:tagLst>
</file>

<file path=ppt/tags/tag4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11237_1*i*1"/>
  <p:tag name="KSO_WM_UNIT_LAYERLEVEL" val="1"/>
  <p:tag name="KSO_WM_TAG_VERSION" val="1.0"/>
  <p:tag name="KSO_WM_BEAUTIFY_FLAG" val="#wm#"/>
  <p:tag name="KSO_WM_UNIT_TYPE" val="i"/>
  <p:tag name="KSO_WM_UNIT_INDEX" val="1"/>
  <p:tag name="KSO_WM_UNIT_SUBTYPE" val="h"/>
  <p:tag name="KSO_WM_SLIDE_BACKGROUND_TYPE" val="navigation"/>
  <p:tag name="KSO_WM_SLIDE_BK_DARK_LIGHT" val="2"/>
  <p:tag name="KSO_WM_UNIT_BK_DARK_LIGHT" val="2"/>
  <p:tag name="KSO_WM_UNIT_FILL_FORE_SCHEMECOLOR_INDEX_BRIGHTNESS" val="0"/>
  <p:tag name="KSO_WM_UNIT_FILL_FORE_SCHEMECOLOR_INDEX" val="15"/>
  <p:tag name="KSO_WM_UNIT_FILL_TYPE" val="1"/>
  <p:tag name="KSO_WM_UNIT_TEXT_FILL_FORE_SCHEMECOLOR_INDEX_BRIGHTNESS" val="0"/>
  <p:tag name="KSO_WM_UNIT_TEXT_FILL_FORE_SCHEMECOLOR_INDEX" val="2"/>
  <p:tag name="KSO_WM_UNIT_TEXT_FILL_TYPE" val="1"/>
  <p:tag name="KSO_WM_TEMPLATE_CATEGORY" val="diagram"/>
  <p:tag name="KSO_WM_TEMPLATE_INDEX" val="20211237"/>
  <p:tag name="KSO_WM_UNIT_VALUE" val="159"/>
  <p:tag name="KSO_WM_TEMPLATE_ASSEMBLE_XID" val="60656ea94054ed1e2fb7fd48"/>
  <p:tag name="KSO_WM_TEMPLATE_ASSEMBLE_GROUPID" val="60656ea94054ed1e2fb7fd48"/>
</p:tagLst>
</file>

<file path=ppt/tags/tag4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
  <p:tag name="KSO_WM_UNIT_ID" val="diagram20211237_1*i*2"/>
  <p:tag name="KSO_WM_TEMPLATE_CATEGORY" val="diagram"/>
  <p:tag name="KSO_WM_TEMPLATE_INDEX" val="20211237"/>
  <p:tag name="KSO_WM_UNIT_LAYERLEVEL" val="1"/>
  <p:tag name="KSO_WM_TAG_VERSION" val="1.0"/>
  <p:tag name="KSO_WM_BEAUTIFY_FLAG" val="#wm#"/>
  <p:tag name="KSO_WM_UNIT_BLOCK" val="0"/>
  <p:tag name="KSO_WM_UNIT_SM_LIMIT_TYPE" val="2"/>
  <p:tag name="KSO_WM_UNIT_DEC_AREA_ID" val="26e1bf8bf2854514a6de2a57da304cf6"/>
  <p:tag name="KSO_WM_UNIT_DECORATE_INFO" val="{&quot;DecorateInfoH&quot;:{&quot;IsAbs&quot;:true},&quot;DecorateInfoW&quot;:{&quot;IsAbs&quot;:true},&quot;DecorateInfoX&quot;:{&quot;IsAbs&quot;:true,&quot;Pos&quot;:1},&quot;DecorateInfoY&quot;:{&quot;IsAbs&quot;:true,&quot;Pos&quot;:1},&quot;ReferentInfo&quot;:{&quot;Id&quot;:&quot;1fcc6e64974144d79999cb4b9d8f41be;5c9bff6da3744ff3860b401c60fe4afc&quot;,&quot;X&quot;:{&quot;Pos&quot;:1},&quot;Y&quot;:{&quot;Pos&quot;:1}},&quot;whChangeMode&quot;:0}"/>
  <p:tag name="KSO_WM_CHIP_GROUPID" val="5f5ee1ca4d6848d78f644aeb"/>
  <p:tag name="KSO_WM_CHIP_XID" val="5f5f3b658e478fb0c58a9404"/>
  <p:tag name="KSO_WM_UNIT_FILL_FORE_SCHEMECOLOR_INDEX_BRIGHTNESS" val="0"/>
  <p:tag name="KSO_WM_UNIT_FILL_FORE_SCHEMECOLOR_INDEX" val="16"/>
  <p:tag name="KSO_WM_UNIT_FILL_TYPE" val="1"/>
  <p:tag name="KSO_WM_UNIT_SHADOW_SCHEMECOLOR_INDEX_BRIGHTNESS" val="-0.25"/>
  <p:tag name="KSO_WM_UNIT_SHADOW_SCHEMECOLOR_INDEX" val="16"/>
  <p:tag name="KSO_WM_UNIT_TEXT_FILL_FORE_SCHEMECOLOR_INDEX_BRIGHTNESS" val="0"/>
  <p:tag name="KSO_WM_UNIT_TEXT_FILL_FORE_SCHEMECOLOR_INDEX" val="2"/>
  <p:tag name="KSO_WM_UNIT_TEXT_FILL_TYPE" val="1"/>
  <p:tag name="KSO_WM_UNIT_VALUE" val="493"/>
  <p:tag name="KSO_WM_TEMPLATE_ASSEMBLE_XID" val="60656ea94054ed1e2fb7fd48"/>
  <p:tag name="KSO_WM_TEMPLATE_ASSEMBLE_GROUPID" val="60656ea94054ed1e2fb7fd48"/>
</p:tagLst>
</file>

<file path=ppt/tags/tag47.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31"/>
  <p:tag name="KSO_WM_UNIT_HIGHLIGHT" val="0"/>
  <p:tag name="KSO_WM_UNIT_COMPATIBLE" val="0"/>
  <p:tag name="KSO_WM_UNIT_DIAGRAM_ISNUMVISUAL" val="0"/>
  <p:tag name="KSO_WM_UNIT_DIAGRAM_ISREFERUNIT" val="0"/>
  <p:tag name="KSO_WM_UNIT_TYPE" val="a"/>
  <p:tag name="KSO_WM_UNIT_INDEX" val="1"/>
  <p:tag name="KSO_WM_UNIT_ID" val="diagram20211237_1*a*1"/>
  <p:tag name="KSO_WM_TEMPLATE_CATEGORY" val="diagram"/>
  <p:tag name="KSO_WM_TEMPLATE_INDEX" val="20211237"/>
  <p:tag name="KSO_WM_UNIT_LAYERLEVEL" val="1"/>
  <p:tag name="KSO_WM_TAG_VERSION" val="1.0"/>
  <p:tag name="KSO_WM_BEAUTIFY_FLAG" val="#wm#"/>
  <p:tag name="KSO_WM_UNIT_PRESET_TEXT" val="单击此处添加大标题内容"/>
  <p:tag name="KSO_WM_UNIT_DEFAULT_FONT" val="24;44;4"/>
  <p:tag name="KSO_WM_UNIT_BLOCK" val="0"/>
  <p:tag name="KSO_WM_UNIT_SHOW_EDIT_AREA_INDICATION" val="1"/>
  <p:tag name="KSO_WM_CHIP_GROUPID" val="5e7881253197e252a37019b5"/>
  <p:tag name="KSO_WM_CHIP_XID" val="5e7881253197e252a37019b6"/>
  <p:tag name="KSO_WM_UNIT_DEC_AREA_ID" val="c6235b0cf1074dd6bdcf34fe399af70b"/>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m&quot;,&quot;fill_mode&quot;:&quot;full&quot;,&quot;sacle_strategy&quot;:&quot;smart&quot;}"/>
  <p:tag name="KSO_WM_ASSEMBLE_CHIP_INDEX" val="9ad1c640d04942dbae536a7d44acd3ca"/>
  <p:tag name="KSO_WM_UNIT_TEXT_FILL_FORE_SCHEMECOLOR_INDEX_BRIGHTNESS" val="0"/>
  <p:tag name="KSO_WM_UNIT_TEXT_FILL_FORE_SCHEMECOLOR_INDEX" val="13"/>
  <p:tag name="KSO_WM_UNIT_TEXT_FILL_TYPE" val="1"/>
  <p:tag name="KSO_WM_TEMPLATE_ASSEMBLE_XID" val="60656ea94054ed1e2fb7fd48"/>
  <p:tag name="KSO_WM_TEMPLATE_ASSEMBLE_GROUPID" val="60656ea94054ed1e2fb7fd48"/>
</p:tagLst>
</file>

<file path=ppt/tags/tag48.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PRESET_TEXT" val="单击此处添加小标题"/>
  <p:tag name="KSO_WM_UNIT_NOCLEAR" val="0"/>
  <p:tag name="KSO_WM_UNIT_VALUE" val="23"/>
  <p:tag name="KSO_WM_UNIT_HIGHLIGHT" val="0"/>
  <p:tag name="KSO_WM_UNIT_COMPATIBLE" val="0"/>
  <p:tag name="KSO_WM_UNIT_DIAGRAM_ISNUMVISUAL" val="0"/>
  <p:tag name="KSO_WM_UNIT_DIAGRAM_ISREFERUNIT" val="0"/>
  <p:tag name="KSO_WM_UNIT_TYPE" val="h_a"/>
  <p:tag name="KSO_WM_UNIT_INDEX" val="1_1"/>
  <p:tag name="KSO_WM_UNIT_ID" val="diagram20211237_1*h_a*1_1"/>
  <p:tag name="KSO_WM_TEMPLATE_CATEGORY" val="diagram"/>
  <p:tag name="KSO_WM_TEMPLATE_INDEX" val="20211237"/>
  <p:tag name="KSO_WM_UNIT_LAYERLEVEL" val="1_1"/>
  <p:tag name="KSO_WM_TAG_VERSION" val="1.0"/>
  <p:tag name="KSO_WM_BEAUTIFY_FLAG" val="#wm#"/>
  <p:tag name="KSO_WM_UNIT_DEFAULT_FONT" val="18;24;2"/>
  <p:tag name="KSO_WM_UNIT_BLOCK" val="0"/>
  <p:tag name="KSO_WM_UNIT_SHOW_EDIT_AREA_INDICATION" val="1"/>
  <p:tag name="KSO_WM_CHIP_GROUPID" val="5e6b05b36848fb12bee65ad8"/>
  <p:tag name="KSO_WM_CHIP_XID" val="5e6b05b36848fb12bee65ada"/>
  <p:tag name="KSO_WM_UNIT_DEC_AREA_ID" val="1fcc6e64974144d79999cb4b9d8f41be"/>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cm&quot;,&quot;fill_mode&quot;:&quot;full&quot;,&quot;sacle_strategy&quot;:&quot;smart&quot;}"/>
  <p:tag name="KSO_WM_ASSEMBLE_CHIP_INDEX" val="f4a7099205784ebb9e8a6c88070007f8"/>
  <p:tag name="KSO_WM_UNIT_TEXT_FILL_FORE_SCHEMECOLOR_INDEX_BRIGHTNESS" val="0"/>
  <p:tag name="KSO_WM_UNIT_TEXT_FILL_FORE_SCHEMECOLOR_INDEX" val="13"/>
  <p:tag name="KSO_WM_UNIT_TEXT_FILL_TYPE" val="1"/>
  <p:tag name="KSO_WM_TEMPLATE_ASSEMBLE_XID" val="60656ea94054ed1e2fb7fd48"/>
  <p:tag name="KSO_WM_TEMPLATE_ASSEMBLE_GROUPID" val="60656ea94054ed1e2fb7fd48"/>
</p:tagLst>
</file>

<file path=ppt/tags/tag49.xml><?xml version="1.0" encoding="utf-8"?>
<p:tagLst xmlns:a="http://schemas.openxmlformats.org/drawingml/2006/main" xmlns:r="http://schemas.openxmlformats.org/officeDocument/2006/relationships" xmlns:p="http://schemas.openxmlformats.org/presentationml/2006/main">
  <p:tag name="KSO_WM_UNIT_TEXT_SUBTYPE" val="a"/>
  <p:tag name="KSO_WM_UNIT_PRESET_TEXT" val="单击此处添加正文，文字是您思想的提炼，为了演示发布的良好效果，请言简意赅的阐述您的观点。您的内容已经简明扼要，字字珠玑，但信息却千丝万缕、错综复杂，需要用更多的文字来表述；但请您尽可能提炼思想的精髓，否则容易造成观者的阅读压力，适得其反。正如我们都希望改变世界，希望给别人带去光明，但更多时候我们只需要播下一颗种子，自然有微风吹拂，雨露滋养。"/>
  <p:tag name="KSO_WM_UNIT_NOCLEAR" val="0"/>
  <p:tag name="KSO_WM_UNIT_HIGHLIGHT" val="0"/>
  <p:tag name="KSO_WM_UNIT_COMPATIBLE" val="0"/>
  <p:tag name="KSO_WM_UNIT_DIAGRAM_ISNUMVISUAL" val="0"/>
  <p:tag name="KSO_WM_UNIT_DIAGRAM_ISREFERUNIT" val="0"/>
  <p:tag name="KSO_WM_UNIT_TYPE" val="h_f"/>
  <p:tag name="KSO_WM_UNIT_INDEX" val="1_1"/>
  <p:tag name="KSO_WM_UNIT_ID" val="diagram20211237_1*h_f*1_1"/>
  <p:tag name="KSO_WM_TEMPLATE_CATEGORY" val="diagram"/>
  <p:tag name="KSO_WM_TEMPLATE_INDEX" val="20211237"/>
  <p:tag name="KSO_WM_UNIT_LAYERLEVEL" val="1_1"/>
  <p:tag name="KSO_WM_TAG_VERSION" val="1.0"/>
  <p:tag name="KSO_WM_BEAUTIFY_FLAG" val="#wm#"/>
  <p:tag name="KSO_WM_UNIT_SUBTYPE" val="a"/>
  <p:tag name="KSO_WM_UNIT_DEFAULT_FONT" val="14;20;2"/>
  <p:tag name="KSO_WM_UNIT_BLOCK" val="0"/>
  <p:tag name="KSO_WM_UNIT_VALUE" val="207"/>
  <p:tag name="KSO_WM_UNIT_SHOW_EDIT_AREA_INDICATION" val="1"/>
  <p:tag name="KSO_WM_CHIP_GROUPID" val="5e6b05b36848fb12bee65ad8"/>
  <p:tag name="KSO_WM_CHIP_XID" val="5e6b05b36848fb12bee65ada"/>
  <p:tag name="KSO_WM_UNIT_DEC_AREA_ID" val="5c9bff6da3744ff3860b401c60fe4afc"/>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cm&quot;,&quot;fill_mode&quot;:&quot;full&quot;,&quot;sacle_strategy&quot;:&quot;smart&quot;}"/>
  <p:tag name="KSO_WM_ASSEMBLE_CHIP_INDEX" val="f4a7099205784ebb9e8a6c88070007f8"/>
  <p:tag name="KSO_WM_UNIT_TEXT_FILL_FORE_SCHEMECOLOR_INDEX_BRIGHTNESS" val="0.25"/>
  <p:tag name="KSO_WM_UNIT_TEXT_FILL_FORE_SCHEMECOLOR_INDEX" val="13"/>
  <p:tag name="KSO_WM_UNIT_TEXT_FILL_TYPE" val="1"/>
  <p:tag name="KSO_WM_TEMPLATE_ASSEMBLE_XID" val="60656ea94054ed1e2fb7fd48"/>
  <p:tag name="KSO_WM_TEMPLATE_ASSEMBLE_GROUPID" val="60656ea94054ed1e2fb7fd48"/>
</p:tagLst>
</file>

<file path=ppt/tags/tag5.xml><?xml version="1.0" encoding="utf-8"?>
<p:tagLst xmlns:a="http://schemas.openxmlformats.org/drawingml/2006/main" xmlns:r="http://schemas.openxmlformats.org/officeDocument/2006/relationships" xmlns:p="http://schemas.openxmlformats.org/presentationml/2006/main">
  <p:tag name="KSO_WM_UNIT_SUBTYPE" val="a"/>
  <p:tag name="KSO_WM_UNIT_PRESET_TEXT" val="单击此处添加正文内容"/>
  <p:tag name="KSO_WM_UNIT_NOCLEAR" val="0"/>
  <p:tag name="KSO_WM_UNIT_HIGHLIGHT" val="0"/>
  <p:tag name="KSO_WM_UNIT_COMPATIBLE" val="0"/>
  <p:tag name="KSO_WM_UNIT_DIAGRAM_ISNUMVISUAL" val="0"/>
  <p:tag name="KSO_WM_UNIT_DIAGRAM_ISREFERUNIT" val="0"/>
  <p:tag name="KSO_WM_DIAGRAM_GROUP_CODE" val="l1-1"/>
  <p:tag name="KSO_WM_UNIT_TYPE" val="l_h_f"/>
  <p:tag name="KSO_WM_UNIT_INDEX" val="1_1_1"/>
  <p:tag name="KSO_WM_UNIT_ID" val="diagram20218393_5*l_h_f*1_1_1"/>
  <p:tag name="KSO_WM_TEMPLATE_CATEGORY" val="diagram"/>
  <p:tag name="KSO_WM_TEMPLATE_INDEX" val="20218393"/>
  <p:tag name="KSO_WM_UNIT_LAYERLEVEL" val="1_1_1"/>
  <p:tag name="KSO_WM_TAG_VERSION" val="1.0"/>
  <p:tag name="KSO_WM_BEAUTIFY_FLAG" val="#wm#"/>
  <p:tag name="KSO_WM_UNIT_TEXT_FILL_FORE_SCHEMECOLOR_INDEX_BRIGHTNESS" val="0.25"/>
  <p:tag name="KSO_WM_UNIT_TEXT_FILL_FORE_SCHEMECOLOR_INDEX" val="13"/>
  <p:tag name="KSO_WM_UNIT_TEXT_FILL_TYPE" val="1"/>
  <p:tag name="KSO_WM_UNIT_USESOURCEFORMAT_APPLY" val="1"/>
</p:tagLst>
</file>

<file path=ppt/tags/tag5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11237_1*i*3"/>
  <p:tag name="KSO_WM_TEMPLATE_CATEGORY" val="diagram"/>
  <p:tag name="KSO_WM_TEMPLATE_INDEX" val="20211237"/>
  <p:tag name="KSO_WM_UNIT_LAYERLEVEL" val="1"/>
  <p:tag name="KSO_WM_TAG_VERSION" val="1.0"/>
  <p:tag name="KSO_WM_BEAUTIFY_FLAG" val="#wm#"/>
  <p:tag name="KSO_WM_UNIT_BLOCK" val="0"/>
  <p:tag name="KSO_WM_UNIT_SM_LIMIT_TYPE" val="2"/>
  <p:tag name="KSO_WM_UNIT_DEC_AREA_ID" val="4b32df71aa3b4b56b94539aaf452f757"/>
  <p:tag name="KSO_WM_UNIT_TYPE" val="i"/>
  <p:tag name="KSO_WM_UNIT_INDEX" val="3"/>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CHIP_GROUPID" val="5f5ee1ca4d6848d78f644aeb"/>
  <p:tag name="KSO_WM_CHIP_XID" val="5f5f3b658e478fb0c58a9404"/>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 name="KSO_WM_UNIT_VALUE" val="81"/>
  <p:tag name="KSO_WM_TEMPLATE_ASSEMBLE_XID" val="60656ea94054ed1e2fb7fd48"/>
  <p:tag name="KSO_WM_TEMPLATE_ASSEMBLE_GROUPID" val="60656ea94054ed1e2fb7fd48"/>
</p:tagLst>
</file>

<file path=ppt/tags/tag5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11237_1*i*4"/>
  <p:tag name="KSO_WM_TEMPLATE_CATEGORY" val="diagram"/>
  <p:tag name="KSO_WM_TEMPLATE_INDEX" val="20211237"/>
  <p:tag name="KSO_WM_UNIT_LAYERLEVEL" val="1"/>
  <p:tag name="KSO_WM_TAG_VERSION" val="1.0"/>
  <p:tag name="KSO_WM_BEAUTIFY_FLAG" val="#wm#"/>
  <p:tag name="KSO_WM_UNIT_BLOCK" val="0"/>
  <p:tag name="KSO_WM_UNIT_SM_LIMIT_TYPE" val="2"/>
  <p:tag name="KSO_WM_UNIT_DEC_AREA_ID" val="95bed5b55032478aa8b8af2e5407bba5"/>
  <p:tag name="KSO_WM_UNIT_TYPE" val="i"/>
  <p:tag name="KSO_WM_UNIT_INDEX" val="4"/>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CHIP_GROUPID" val="5f5ee1ca4d6848d78f644aeb"/>
  <p:tag name="KSO_WM_CHIP_XID" val="5f5f3b658e478fb0c58a9404"/>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 name="KSO_WM_UNIT_VALUE" val="81"/>
  <p:tag name="KSO_WM_TEMPLATE_ASSEMBLE_XID" val="60656ea94054ed1e2fb7fd48"/>
  <p:tag name="KSO_WM_TEMPLATE_ASSEMBLE_GROUPID" val="60656ea94054ed1e2fb7fd48"/>
</p:tagLst>
</file>

<file path=ppt/tags/tag52.xml><?xml version="1.0" encoding="utf-8"?>
<p:tagLst xmlns:a="http://schemas.openxmlformats.org/drawingml/2006/main" xmlns:r="http://schemas.openxmlformats.org/officeDocument/2006/relationships" xmlns:p="http://schemas.openxmlformats.org/presentationml/2006/main">
  <p:tag name="ISLIDE.THEME" val="https://www.islide.cc;"/>
  <p:tag name="KSO_WM_SLIDE_ID" val="diagram20211237_1"/>
  <p:tag name="KSO_WM_TEMPLATE_SUBCATEGORY" val="21"/>
  <p:tag name="KSO_WM_TEMPLATE_MASTER_TYPE" val="0"/>
  <p:tag name="KSO_WM_TEMPLATE_COLOR_TYPE" val="1"/>
  <p:tag name="KSO_WM_SLIDE_TYPE" val="text"/>
  <p:tag name="KSO_WM_SLIDE_SUBTYPE" val="pureTxt"/>
  <p:tag name="KSO_WM_SLIDE_ITEM_CNT" val="0"/>
  <p:tag name="KSO_WM_SLIDE_INDEX" val="1"/>
  <p:tag name="KSO_WM_SLIDE_SIZE" val="479.952*276.702"/>
  <p:tag name="KSO_WM_SLIDE_POSITION" val="240.002*191.301"/>
  <p:tag name="KSO_WM_TAG_VERSION" val="1.0"/>
  <p:tag name="KSO_WM_BEAUTIFY_FLAG" val="#wm#"/>
  <p:tag name="KSO_WM_TEMPLATE_CATEGORY" val="diagram"/>
  <p:tag name="KSO_WM_TEMPLATE_INDEX" val="20211237"/>
  <p:tag name="KSO_WM_SLIDE_LAYOUT" val="a_h"/>
  <p:tag name="KSO_WM_SLIDE_LAYOUT_CNT" val="1_1"/>
  <p:tag name="KSO_WM_SLIDE_LAYOUT_INFO" val="{&quot;id&quot;:&quot;2021-04-01T15:11:24&quot;,&quot;maxSize&quot;:{&quot;size1&quot;:13.3},&quot;minSize&quot;:{&quot;size1&quot;:13.3},&quot;normalSize&quot;:{&quot;size1&quot;:13.3},&quot;subLayout&quot;:[{&quot;backgroundInfo&quot;:[{&quot;bottom&quot;:0,&quot;bottomAbs&quot;:false,&quot;left&quot;:0,&quot;leftAbs&quot;:false,&quot;right&quot;:0,&quot;rightAbs&quot;:false,&quot;top&quot;:0,&quot;topAbs&quot;:false,&quot;type&quot;:&quot;navigation&quot;}],&quot;id&quot;:&quot;2021-04-01T15:11:24&quot;,&quot;margin&quot;:{&quot;bottom&quot;:0.4230000674724579,&quot;left&quot;:1.2699999809265137,&quot;right&quot;:1.2699999809265137,&quot;top&quot;:0.4230000674724579},&quot;type&quot;:0},{&quot;id&quot;:&quot;2021-04-01T15:11:24&quot;,&quot;margin&quot;:{&quot;bottom&quot;:2.117000102996826,&quot;left&quot;:7.619999885559082,&quot;right&quot;:7.619999885559082,&quot;top&quot;:2.117000102996826},&quot;maxSize&quot;:{&quot;size1&quot;:40.519052914176974},&quot;minSize&quot;:{&quot;size1&quot;:24.61905291417697},&quot;normalSize&quot;:{&quot;size1&quot;:24.61905291417697},&quot;subLayout&quot;:[{&quot;id&quot;:&quot;2021-04-01T15:11:24&quot;,&quot;margin&quot;:{&quot;bottom&quot;:0.04693020507693291,&quot;left&quot;:7.619999885559082,&quot;right&quot;:7.619999885559082,&quot;top&quot;:2.117000102996826},&quot;type&quot;:0},{&quot;id&quot;:&quot;2021-04-01T15:11:24&quot;,&quot;margin&quot;:{&quot;bottom&quot;:2.117000102996826,&quot;left&quot;:7.619999885559082,&quot;right&quot;:7.619999885559082,&quot;top&quot;:0.14886131882667542},&quot;type&quot;:0}],&quot;type&quot;:0}],&quot;type&quot;:0}"/>
  <p:tag name="KSO_WM_SLIDE_BACKGROUND" val="[&quot;navigation&quot;]"/>
  <p:tag name="KSO_WM_SLIDE_RATIO" val="1.777778"/>
  <p:tag name="KSO_WM_CHIP_INFOS" val="{&quot;type&quot;:0,&quot;layout_type&quot;:&quot;navigation&quot;,&quot;layout_feature&quot;:1,&quot;aspect_ratio&quot;:&quot;16:9&quot;,&quot;same_font_size&quot;:false,&quot;diagram&quot;:{&quot;type&quot;:[],&quot;direction&quot;:0,&quot;isSupportDecBetweenItems&quot;:false},&quot;tags&quot;:{&quot;style&quot;:[&quot;商务&quot;,&quot;简约&quot;,&quot;文艺清新&quot;,&quot;中国风&quot;,&quot;卡通&quot;,&quot;欧美风&quot;,&quot;黑板风&quot;,&quot;渐变风&quot;,&quot;党政风&quot;]},&quot;slide_type&quot;:[&quot;text&quot;]}"/>
  <p:tag name="KSO_WM_CHIP_XID" val="5f5f3b658e478fb0c58a9404"/>
  <p:tag name="KSO_WM_CHIP_FILLPROP" val="[[{&quot;text_align&quot;:&quot;lm&quot;,&quot;text_direction&quot;:&quot;horizontal&quot;,&quot;support_big_font&quot;:false,&quot;picture_toward&quot;:0,&quot;picture_dockside&quot;:[],&quot;fill_id&quot;:&quot;c934b58042b44607bfcc30469ccc57d1&quot;,&quot;fill_align&quot;:&quot;lm&quot;,&quot;chip_types&quot;:[&quot;header&quot;]},{&quot;text_align&quot;:&quot;lm&quot;,&quot;text_direction&quot;:&quot;horizontal&quot;,&quot;support_features&quot;:[&quot;collage&quot;],&quot;support_big_font&quot;:false,&quot;picture_toward&quot;:0,&quot;picture_dockside&quot;:[],&quot;fill_id&quot;:&quot;2ca697fb6ed3405a815a26366cd6d128&quot;,&quot;fill_align&quot;:&quot;cm&quot;,&quot;chip_types&quot;:[&quot;diagram&quot;,&quot;text&quot;,&quot;picture&quot;,&quot;chart&quot;,&quot;table&quot;,&quot;video&quot;]}]]"/>
  <p:tag name="FIXED_XID_TMP" val="5f5ee1ca4d6848d78f644aeb"/>
  <p:tag name="KSO_WM_SLIDE_CAN_ADD_NAVIGATION" val="1"/>
  <p:tag name="KSO_WM_CHIP_DECFILLPROP" val="[]"/>
  <p:tag name="KSO_WM_CHIP_GROUPID" val="5f5ee1ca4d6848d78f644aeb"/>
  <p:tag name="KSO_WM_SLIDE_BK_DARK_LIGHT" val="2"/>
  <p:tag name="KSO_WM_SLIDE_BACKGROUND_TYPE" val="navigation"/>
  <p:tag name="KSO_WM_SLIDE_SUPPORT_FEATURE_TYPE" val="0"/>
  <p:tag name="KSO_WM_TEMPLATE_ASSEMBLE_XID" val="60656ea94054ed1e2fb7fd48"/>
  <p:tag name="KSO_WM_TEMPLATE_ASSEMBLE_GROUPID" val="60656ea94054ed1e2fb7fd48"/>
</p:tagLst>
</file>

<file path=ppt/tags/tag5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11237_1*i*1"/>
  <p:tag name="KSO_WM_UNIT_LAYERLEVEL" val="1"/>
  <p:tag name="KSO_WM_TAG_VERSION" val="1.0"/>
  <p:tag name="KSO_WM_BEAUTIFY_FLAG" val="#wm#"/>
  <p:tag name="KSO_WM_UNIT_TYPE" val="i"/>
  <p:tag name="KSO_WM_UNIT_INDEX" val="1"/>
  <p:tag name="KSO_WM_UNIT_SUBTYPE" val="h"/>
  <p:tag name="KSO_WM_SLIDE_BACKGROUND_TYPE" val="navigation"/>
  <p:tag name="KSO_WM_SLIDE_BK_DARK_LIGHT" val="2"/>
  <p:tag name="KSO_WM_UNIT_BK_DARK_LIGHT" val="2"/>
  <p:tag name="KSO_WM_UNIT_FILL_FORE_SCHEMECOLOR_INDEX_BRIGHTNESS" val="0"/>
  <p:tag name="KSO_WM_UNIT_FILL_FORE_SCHEMECOLOR_INDEX" val="15"/>
  <p:tag name="KSO_WM_UNIT_FILL_TYPE" val="1"/>
  <p:tag name="KSO_WM_UNIT_TEXT_FILL_FORE_SCHEMECOLOR_INDEX_BRIGHTNESS" val="0"/>
  <p:tag name="KSO_WM_UNIT_TEXT_FILL_FORE_SCHEMECOLOR_INDEX" val="2"/>
  <p:tag name="KSO_WM_UNIT_TEXT_FILL_TYPE" val="1"/>
  <p:tag name="KSO_WM_TEMPLATE_CATEGORY" val="diagram"/>
  <p:tag name="KSO_WM_TEMPLATE_INDEX" val="20211237"/>
  <p:tag name="KSO_WM_UNIT_VALUE" val="159"/>
  <p:tag name="KSO_WM_TEMPLATE_ASSEMBLE_XID" val="60656ea94054ed1e2fb7fd48"/>
  <p:tag name="KSO_WM_TEMPLATE_ASSEMBLE_GROUPID" val="60656ea94054ed1e2fb7fd48"/>
</p:tagLst>
</file>

<file path=ppt/tags/tag5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
  <p:tag name="KSO_WM_UNIT_ID" val="diagram20211237_1*i*2"/>
  <p:tag name="KSO_WM_TEMPLATE_CATEGORY" val="diagram"/>
  <p:tag name="KSO_WM_TEMPLATE_INDEX" val="20211237"/>
  <p:tag name="KSO_WM_UNIT_LAYERLEVEL" val="1"/>
  <p:tag name="KSO_WM_TAG_VERSION" val="1.0"/>
  <p:tag name="KSO_WM_BEAUTIFY_FLAG" val="#wm#"/>
  <p:tag name="KSO_WM_UNIT_BLOCK" val="0"/>
  <p:tag name="KSO_WM_UNIT_SM_LIMIT_TYPE" val="2"/>
  <p:tag name="KSO_WM_UNIT_DEC_AREA_ID" val="26e1bf8bf2854514a6de2a57da304cf6"/>
  <p:tag name="KSO_WM_UNIT_DECORATE_INFO" val="{&quot;DecorateInfoH&quot;:{&quot;IsAbs&quot;:true},&quot;DecorateInfoW&quot;:{&quot;IsAbs&quot;:true},&quot;DecorateInfoX&quot;:{&quot;IsAbs&quot;:true,&quot;Pos&quot;:1},&quot;DecorateInfoY&quot;:{&quot;IsAbs&quot;:true,&quot;Pos&quot;:1},&quot;ReferentInfo&quot;:{&quot;Id&quot;:&quot;1fcc6e64974144d79999cb4b9d8f41be;5c9bff6da3744ff3860b401c60fe4afc&quot;,&quot;X&quot;:{&quot;Pos&quot;:1},&quot;Y&quot;:{&quot;Pos&quot;:1}},&quot;whChangeMode&quot;:0}"/>
  <p:tag name="KSO_WM_CHIP_GROUPID" val="5f5ee1ca4d6848d78f644aeb"/>
  <p:tag name="KSO_WM_CHIP_XID" val="5f5f3b658e478fb0c58a9404"/>
  <p:tag name="KSO_WM_UNIT_FILL_FORE_SCHEMECOLOR_INDEX_BRIGHTNESS" val="0"/>
  <p:tag name="KSO_WM_UNIT_FILL_FORE_SCHEMECOLOR_INDEX" val="16"/>
  <p:tag name="KSO_WM_UNIT_FILL_TYPE" val="1"/>
  <p:tag name="KSO_WM_UNIT_SHADOW_SCHEMECOLOR_INDEX_BRIGHTNESS" val="-0.25"/>
  <p:tag name="KSO_WM_UNIT_SHADOW_SCHEMECOLOR_INDEX" val="16"/>
  <p:tag name="KSO_WM_UNIT_TEXT_FILL_FORE_SCHEMECOLOR_INDEX_BRIGHTNESS" val="0"/>
  <p:tag name="KSO_WM_UNIT_TEXT_FILL_FORE_SCHEMECOLOR_INDEX" val="2"/>
  <p:tag name="KSO_WM_UNIT_TEXT_FILL_TYPE" val="1"/>
  <p:tag name="KSO_WM_UNIT_VALUE" val="493"/>
  <p:tag name="KSO_WM_TEMPLATE_ASSEMBLE_XID" val="60656ea94054ed1e2fb7fd48"/>
  <p:tag name="KSO_WM_TEMPLATE_ASSEMBLE_GROUPID" val="60656ea94054ed1e2fb7fd48"/>
</p:tagLst>
</file>

<file path=ppt/tags/tag55.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31"/>
  <p:tag name="KSO_WM_UNIT_HIGHLIGHT" val="0"/>
  <p:tag name="KSO_WM_UNIT_COMPATIBLE" val="0"/>
  <p:tag name="KSO_WM_UNIT_DIAGRAM_ISNUMVISUAL" val="0"/>
  <p:tag name="KSO_WM_UNIT_DIAGRAM_ISREFERUNIT" val="0"/>
  <p:tag name="KSO_WM_UNIT_TYPE" val="a"/>
  <p:tag name="KSO_WM_UNIT_INDEX" val="1"/>
  <p:tag name="KSO_WM_UNIT_ID" val="diagram20211237_1*a*1"/>
  <p:tag name="KSO_WM_TEMPLATE_CATEGORY" val="diagram"/>
  <p:tag name="KSO_WM_TEMPLATE_INDEX" val="20211237"/>
  <p:tag name="KSO_WM_UNIT_LAYERLEVEL" val="1"/>
  <p:tag name="KSO_WM_TAG_VERSION" val="1.0"/>
  <p:tag name="KSO_WM_BEAUTIFY_FLAG" val="#wm#"/>
  <p:tag name="KSO_WM_UNIT_PRESET_TEXT" val="单击此处添加大标题内容"/>
  <p:tag name="KSO_WM_UNIT_DEFAULT_FONT" val="24;44;4"/>
  <p:tag name="KSO_WM_UNIT_BLOCK" val="0"/>
  <p:tag name="KSO_WM_UNIT_SHOW_EDIT_AREA_INDICATION" val="1"/>
  <p:tag name="KSO_WM_CHIP_GROUPID" val="5e7881253197e252a37019b5"/>
  <p:tag name="KSO_WM_CHIP_XID" val="5e7881253197e252a37019b6"/>
  <p:tag name="KSO_WM_UNIT_DEC_AREA_ID" val="c6235b0cf1074dd6bdcf34fe399af70b"/>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m&quot;,&quot;fill_mode&quot;:&quot;full&quot;,&quot;sacle_strategy&quot;:&quot;smart&quot;}"/>
  <p:tag name="KSO_WM_ASSEMBLE_CHIP_INDEX" val="9ad1c640d04942dbae536a7d44acd3ca"/>
  <p:tag name="KSO_WM_UNIT_TEXT_FILL_FORE_SCHEMECOLOR_INDEX_BRIGHTNESS" val="0"/>
  <p:tag name="KSO_WM_UNIT_TEXT_FILL_FORE_SCHEMECOLOR_INDEX" val="13"/>
  <p:tag name="KSO_WM_UNIT_TEXT_FILL_TYPE" val="1"/>
  <p:tag name="KSO_WM_TEMPLATE_ASSEMBLE_XID" val="60656ea94054ed1e2fb7fd48"/>
  <p:tag name="KSO_WM_TEMPLATE_ASSEMBLE_GROUPID" val="60656ea94054ed1e2fb7fd48"/>
</p:tagLst>
</file>

<file path=ppt/tags/tag56.xml><?xml version="1.0" encoding="utf-8"?>
<p:tagLst xmlns:a="http://schemas.openxmlformats.org/drawingml/2006/main" xmlns:r="http://schemas.openxmlformats.org/officeDocument/2006/relationships" xmlns:p="http://schemas.openxmlformats.org/presentationml/2006/main">
  <p:tag name="KSO_WM_UNIT_TEXT_SUBTYPE" val="a"/>
  <p:tag name="KSO_WM_UNIT_PRESET_TEXT" val="单击此处添加正文，文字是您思想的提炼，为了演示发布的良好效果，请言简意赅的阐述您的观点。您的内容已经简明扼要，字字珠玑，但信息却千丝万缕、错综复杂，需要用更多的文字来表述；但请您尽可能提炼思想的精髓，否则容易造成观者的阅读压力，适得其反。正如我们都希望改变世界，希望给别人带去光明，但更多时候我们只需要播下一颗种子，自然有微风吹拂，雨露滋养。"/>
  <p:tag name="KSO_WM_UNIT_NOCLEAR" val="0"/>
  <p:tag name="KSO_WM_UNIT_HIGHLIGHT" val="0"/>
  <p:tag name="KSO_WM_UNIT_COMPATIBLE" val="0"/>
  <p:tag name="KSO_WM_UNIT_DIAGRAM_ISNUMVISUAL" val="0"/>
  <p:tag name="KSO_WM_UNIT_DIAGRAM_ISREFERUNIT" val="0"/>
  <p:tag name="KSO_WM_UNIT_TYPE" val="h_f"/>
  <p:tag name="KSO_WM_UNIT_INDEX" val="1_1"/>
  <p:tag name="KSO_WM_UNIT_ID" val="diagram20211237_1*h_f*1_1"/>
  <p:tag name="KSO_WM_TEMPLATE_CATEGORY" val="diagram"/>
  <p:tag name="KSO_WM_TEMPLATE_INDEX" val="20211237"/>
  <p:tag name="KSO_WM_UNIT_LAYERLEVEL" val="1_1"/>
  <p:tag name="KSO_WM_TAG_VERSION" val="1.0"/>
  <p:tag name="KSO_WM_BEAUTIFY_FLAG" val="#wm#"/>
  <p:tag name="KSO_WM_UNIT_SUBTYPE" val="a"/>
  <p:tag name="KSO_WM_UNIT_DEFAULT_FONT" val="14;20;2"/>
  <p:tag name="KSO_WM_UNIT_BLOCK" val="0"/>
  <p:tag name="KSO_WM_UNIT_VALUE" val="207"/>
  <p:tag name="KSO_WM_UNIT_SHOW_EDIT_AREA_INDICATION" val="1"/>
  <p:tag name="KSO_WM_CHIP_GROUPID" val="5e6b05b36848fb12bee65ad8"/>
  <p:tag name="KSO_WM_CHIP_XID" val="5e6b05b36848fb12bee65ada"/>
  <p:tag name="KSO_WM_UNIT_DEC_AREA_ID" val="5c9bff6da3744ff3860b401c60fe4afc"/>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cm&quot;,&quot;fill_mode&quot;:&quot;full&quot;,&quot;sacle_strategy&quot;:&quot;smart&quot;}"/>
  <p:tag name="KSO_WM_ASSEMBLE_CHIP_INDEX" val="f4a7099205784ebb9e8a6c88070007f8"/>
  <p:tag name="KSO_WM_UNIT_TEXT_FILL_FORE_SCHEMECOLOR_INDEX_BRIGHTNESS" val="0.25"/>
  <p:tag name="KSO_WM_UNIT_TEXT_FILL_FORE_SCHEMECOLOR_INDEX" val="13"/>
  <p:tag name="KSO_WM_UNIT_TEXT_FILL_TYPE" val="1"/>
  <p:tag name="KSO_WM_TEMPLATE_ASSEMBLE_XID" val="60656ea94054ed1e2fb7fd48"/>
  <p:tag name="KSO_WM_TEMPLATE_ASSEMBLE_GROUPID" val="60656ea94054ed1e2fb7fd48"/>
</p:tagLst>
</file>

<file path=ppt/tags/tag5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11237_1*i*3"/>
  <p:tag name="KSO_WM_TEMPLATE_CATEGORY" val="diagram"/>
  <p:tag name="KSO_WM_TEMPLATE_INDEX" val="20211237"/>
  <p:tag name="KSO_WM_UNIT_LAYERLEVEL" val="1"/>
  <p:tag name="KSO_WM_TAG_VERSION" val="1.0"/>
  <p:tag name="KSO_WM_BEAUTIFY_FLAG" val="#wm#"/>
  <p:tag name="KSO_WM_UNIT_BLOCK" val="0"/>
  <p:tag name="KSO_WM_UNIT_SM_LIMIT_TYPE" val="2"/>
  <p:tag name="KSO_WM_UNIT_DEC_AREA_ID" val="4b32df71aa3b4b56b94539aaf452f757"/>
  <p:tag name="KSO_WM_UNIT_TYPE" val="i"/>
  <p:tag name="KSO_WM_UNIT_INDEX" val="3"/>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CHIP_GROUPID" val="5f5ee1ca4d6848d78f644aeb"/>
  <p:tag name="KSO_WM_CHIP_XID" val="5f5f3b658e478fb0c58a9404"/>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 name="KSO_WM_UNIT_VALUE" val="81"/>
  <p:tag name="KSO_WM_TEMPLATE_ASSEMBLE_XID" val="60656ea94054ed1e2fb7fd48"/>
  <p:tag name="KSO_WM_TEMPLATE_ASSEMBLE_GROUPID" val="60656ea94054ed1e2fb7fd48"/>
</p:tagLst>
</file>

<file path=ppt/tags/tag5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11237_1*i*4"/>
  <p:tag name="KSO_WM_TEMPLATE_CATEGORY" val="diagram"/>
  <p:tag name="KSO_WM_TEMPLATE_INDEX" val="20211237"/>
  <p:tag name="KSO_WM_UNIT_LAYERLEVEL" val="1"/>
  <p:tag name="KSO_WM_TAG_VERSION" val="1.0"/>
  <p:tag name="KSO_WM_BEAUTIFY_FLAG" val="#wm#"/>
  <p:tag name="KSO_WM_UNIT_BLOCK" val="0"/>
  <p:tag name="KSO_WM_UNIT_SM_LIMIT_TYPE" val="2"/>
  <p:tag name="KSO_WM_UNIT_DEC_AREA_ID" val="95bed5b55032478aa8b8af2e5407bba5"/>
  <p:tag name="KSO_WM_UNIT_TYPE" val="i"/>
  <p:tag name="KSO_WM_UNIT_INDEX" val="4"/>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CHIP_GROUPID" val="5f5ee1ca4d6848d78f644aeb"/>
  <p:tag name="KSO_WM_CHIP_XID" val="5f5f3b658e478fb0c58a9404"/>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 name="KSO_WM_UNIT_VALUE" val="81"/>
  <p:tag name="KSO_WM_TEMPLATE_ASSEMBLE_XID" val="60656ea94054ed1e2fb7fd48"/>
  <p:tag name="KSO_WM_TEMPLATE_ASSEMBLE_GROUPID" val="60656ea94054ed1e2fb7fd48"/>
</p:tagLst>
</file>

<file path=ppt/tags/tag59.xml><?xml version="1.0" encoding="utf-8"?>
<p:tagLst xmlns:a="http://schemas.openxmlformats.org/drawingml/2006/main" xmlns:r="http://schemas.openxmlformats.org/officeDocument/2006/relationships" xmlns:p="http://schemas.openxmlformats.org/presentationml/2006/main">
  <p:tag name="ISLIDE.THEME" val="https://www.islide.cc;"/>
  <p:tag name="KSO_WM_SLIDE_ID" val="diagram20211237_1"/>
  <p:tag name="KSO_WM_TEMPLATE_SUBCATEGORY" val="21"/>
  <p:tag name="KSO_WM_TEMPLATE_MASTER_TYPE" val="0"/>
  <p:tag name="KSO_WM_TEMPLATE_COLOR_TYPE" val="1"/>
  <p:tag name="KSO_WM_SLIDE_TYPE" val="text"/>
  <p:tag name="KSO_WM_SLIDE_SUBTYPE" val="pureTxt"/>
  <p:tag name="KSO_WM_SLIDE_ITEM_CNT" val="0"/>
  <p:tag name="KSO_WM_SLIDE_INDEX" val="1"/>
  <p:tag name="KSO_WM_SLIDE_SIZE" val="479.952*276.702"/>
  <p:tag name="KSO_WM_SLIDE_POSITION" val="240.002*191.301"/>
  <p:tag name="KSO_WM_TAG_VERSION" val="1.0"/>
  <p:tag name="KSO_WM_BEAUTIFY_FLAG" val="#wm#"/>
  <p:tag name="KSO_WM_TEMPLATE_CATEGORY" val="diagram"/>
  <p:tag name="KSO_WM_TEMPLATE_INDEX" val="20211237"/>
  <p:tag name="KSO_WM_SLIDE_LAYOUT" val="a_h"/>
  <p:tag name="KSO_WM_SLIDE_LAYOUT_CNT" val="1_1"/>
  <p:tag name="KSO_WM_SLIDE_LAYOUT_INFO" val="{&quot;id&quot;:&quot;2021-04-01T15:11:24&quot;,&quot;maxSize&quot;:{&quot;size1&quot;:13.3},&quot;minSize&quot;:{&quot;size1&quot;:13.3},&quot;normalSize&quot;:{&quot;size1&quot;:13.3},&quot;subLayout&quot;:[{&quot;backgroundInfo&quot;:[{&quot;bottom&quot;:0,&quot;bottomAbs&quot;:false,&quot;left&quot;:0,&quot;leftAbs&quot;:false,&quot;right&quot;:0,&quot;rightAbs&quot;:false,&quot;top&quot;:0,&quot;topAbs&quot;:false,&quot;type&quot;:&quot;navigation&quot;}],&quot;id&quot;:&quot;2021-04-01T15:11:24&quot;,&quot;margin&quot;:{&quot;bottom&quot;:0.4230000674724579,&quot;left&quot;:1.2699999809265137,&quot;right&quot;:1.2699999809265137,&quot;top&quot;:0.4230000674724579},&quot;type&quot;:0},{&quot;id&quot;:&quot;2021-04-01T15:11:24&quot;,&quot;margin&quot;:{&quot;bottom&quot;:2.117000102996826,&quot;left&quot;:7.619999885559082,&quot;right&quot;:7.619999885559082,&quot;top&quot;:2.117000102996826},&quot;maxSize&quot;:{&quot;size1&quot;:40.519052914176974},&quot;minSize&quot;:{&quot;size1&quot;:24.61905291417697},&quot;normalSize&quot;:{&quot;size1&quot;:24.61905291417697},&quot;subLayout&quot;:[{&quot;id&quot;:&quot;2021-04-01T15:11:24&quot;,&quot;margin&quot;:{&quot;bottom&quot;:0.04693020507693291,&quot;left&quot;:7.619999885559082,&quot;right&quot;:7.619999885559082,&quot;top&quot;:2.117000102996826},&quot;type&quot;:0},{&quot;id&quot;:&quot;2021-04-01T15:11:24&quot;,&quot;margin&quot;:{&quot;bottom&quot;:2.117000102996826,&quot;left&quot;:7.619999885559082,&quot;right&quot;:7.619999885559082,&quot;top&quot;:0.14886131882667542},&quot;type&quot;:0}],&quot;type&quot;:0}],&quot;type&quot;:0}"/>
  <p:tag name="KSO_WM_SLIDE_BACKGROUND" val="[&quot;navigation&quot;]"/>
  <p:tag name="KSO_WM_SLIDE_RATIO" val="1.777778"/>
  <p:tag name="KSO_WM_CHIP_INFOS" val="{&quot;type&quot;:0,&quot;layout_type&quot;:&quot;navigation&quot;,&quot;layout_feature&quot;:1,&quot;aspect_ratio&quot;:&quot;16:9&quot;,&quot;same_font_size&quot;:false,&quot;diagram&quot;:{&quot;type&quot;:[],&quot;direction&quot;:0,&quot;isSupportDecBetweenItems&quot;:false},&quot;tags&quot;:{&quot;style&quot;:[&quot;商务&quot;,&quot;简约&quot;,&quot;文艺清新&quot;,&quot;中国风&quot;,&quot;卡通&quot;,&quot;欧美风&quot;,&quot;黑板风&quot;,&quot;渐变风&quot;,&quot;党政风&quot;]},&quot;slide_type&quot;:[&quot;text&quot;]}"/>
  <p:tag name="KSO_WM_CHIP_XID" val="5f5f3b658e478fb0c58a9404"/>
  <p:tag name="KSO_WM_CHIP_FILLPROP" val="[[{&quot;text_align&quot;:&quot;lm&quot;,&quot;text_direction&quot;:&quot;horizontal&quot;,&quot;support_big_font&quot;:false,&quot;picture_toward&quot;:0,&quot;picture_dockside&quot;:[],&quot;fill_id&quot;:&quot;c934b58042b44607bfcc30469ccc57d1&quot;,&quot;fill_align&quot;:&quot;lm&quot;,&quot;chip_types&quot;:[&quot;header&quot;]},{&quot;text_align&quot;:&quot;lm&quot;,&quot;text_direction&quot;:&quot;horizontal&quot;,&quot;support_features&quot;:[&quot;collage&quot;],&quot;support_big_font&quot;:false,&quot;picture_toward&quot;:0,&quot;picture_dockside&quot;:[],&quot;fill_id&quot;:&quot;2ca697fb6ed3405a815a26366cd6d128&quot;,&quot;fill_align&quot;:&quot;cm&quot;,&quot;chip_types&quot;:[&quot;diagram&quot;,&quot;text&quot;,&quot;picture&quot;,&quot;chart&quot;,&quot;table&quot;,&quot;video&quot;]}]]"/>
  <p:tag name="FIXED_XID_TMP" val="5f5ee1ca4d6848d78f644aeb"/>
  <p:tag name="KSO_WM_SLIDE_CAN_ADD_NAVIGATION" val="1"/>
  <p:tag name="KSO_WM_CHIP_DECFILLPROP" val="[]"/>
  <p:tag name="KSO_WM_CHIP_GROUPID" val="5f5ee1ca4d6848d78f644aeb"/>
  <p:tag name="KSO_WM_SLIDE_BK_DARK_LIGHT" val="2"/>
  <p:tag name="KSO_WM_SLIDE_BACKGROUND_TYPE" val="navigation"/>
  <p:tag name="KSO_WM_SLIDE_SUPPORT_FEATURE_TYPE" val="0"/>
  <p:tag name="KSO_WM_TEMPLATE_ASSEMBLE_XID" val="60656ea94054ed1e2fb7fd48"/>
  <p:tag name="KSO_WM_TEMPLATE_ASSEMBLE_GROUPID" val="60656ea94054ed1e2fb7fd48"/>
</p:tagLst>
</file>

<file path=ppt/tags/tag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1_1"/>
  <p:tag name="KSO_WM_UNIT_ID" val="diagram20218393_5*l_h_i*1_1_1"/>
  <p:tag name="KSO_WM_TEMPLATE_CATEGORY" val="diagram"/>
  <p:tag name="KSO_WM_TEMPLATE_INDEX" val="20218393"/>
  <p:tag name="KSO_WM_UNIT_LAYERLEVEL" val="1_1_1"/>
  <p:tag name="KSO_WM_TAG_VERSION" val="1.0"/>
  <p:tag name="KSO_WM_BEAUTIFY_FLAG" val="#wm#"/>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 name="KSO_WM_UNIT_USESOURCEFORMAT_APPLY" val="1"/>
</p:tagLst>
</file>

<file path=ppt/tags/tag6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11237_1*i*1"/>
  <p:tag name="KSO_WM_UNIT_LAYERLEVEL" val="1"/>
  <p:tag name="KSO_WM_TAG_VERSION" val="1.0"/>
  <p:tag name="KSO_WM_BEAUTIFY_FLAG" val="#wm#"/>
  <p:tag name="KSO_WM_UNIT_TYPE" val="i"/>
  <p:tag name="KSO_WM_UNIT_INDEX" val="1"/>
  <p:tag name="KSO_WM_UNIT_SUBTYPE" val="h"/>
  <p:tag name="KSO_WM_SLIDE_BACKGROUND_TYPE" val="navigation"/>
  <p:tag name="KSO_WM_SLIDE_BK_DARK_LIGHT" val="2"/>
  <p:tag name="KSO_WM_UNIT_BK_DARK_LIGHT" val="2"/>
  <p:tag name="KSO_WM_UNIT_FILL_FORE_SCHEMECOLOR_INDEX_BRIGHTNESS" val="0"/>
  <p:tag name="KSO_WM_UNIT_FILL_FORE_SCHEMECOLOR_INDEX" val="15"/>
  <p:tag name="KSO_WM_UNIT_FILL_TYPE" val="1"/>
  <p:tag name="KSO_WM_UNIT_TEXT_FILL_FORE_SCHEMECOLOR_INDEX_BRIGHTNESS" val="0"/>
  <p:tag name="KSO_WM_UNIT_TEXT_FILL_FORE_SCHEMECOLOR_INDEX" val="2"/>
  <p:tag name="KSO_WM_UNIT_TEXT_FILL_TYPE" val="1"/>
  <p:tag name="KSO_WM_TEMPLATE_CATEGORY" val="diagram"/>
  <p:tag name="KSO_WM_TEMPLATE_INDEX" val="20211237"/>
  <p:tag name="KSO_WM_UNIT_VALUE" val="159"/>
  <p:tag name="KSO_WM_TEMPLATE_ASSEMBLE_XID" val="60656ea94054ed1e2fb7fd48"/>
  <p:tag name="KSO_WM_TEMPLATE_ASSEMBLE_GROUPID" val="60656ea94054ed1e2fb7fd48"/>
</p:tagLst>
</file>

<file path=ppt/tags/tag6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
  <p:tag name="KSO_WM_UNIT_ID" val="diagram20211237_1*i*2"/>
  <p:tag name="KSO_WM_TEMPLATE_CATEGORY" val="diagram"/>
  <p:tag name="KSO_WM_TEMPLATE_INDEX" val="20211237"/>
  <p:tag name="KSO_WM_UNIT_LAYERLEVEL" val="1"/>
  <p:tag name="KSO_WM_TAG_VERSION" val="1.0"/>
  <p:tag name="KSO_WM_BEAUTIFY_FLAG" val="#wm#"/>
  <p:tag name="KSO_WM_UNIT_BLOCK" val="0"/>
  <p:tag name="KSO_WM_UNIT_SM_LIMIT_TYPE" val="2"/>
  <p:tag name="KSO_WM_UNIT_DEC_AREA_ID" val="26e1bf8bf2854514a6de2a57da304cf6"/>
  <p:tag name="KSO_WM_UNIT_DECORATE_INFO" val="{&quot;DecorateInfoH&quot;:{&quot;IsAbs&quot;:true},&quot;DecorateInfoW&quot;:{&quot;IsAbs&quot;:true},&quot;DecorateInfoX&quot;:{&quot;IsAbs&quot;:true,&quot;Pos&quot;:1},&quot;DecorateInfoY&quot;:{&quot;IsAbs&quot;:true,&quot;Pos&quot;:1},&quot;ReferentInfo&quot;:{&quot;Id&quot;:&quot;1fcc6e64974144d79999cb4b9d8f41be;5c9bff6da3744ff3860b401c60fe4afc&quot;,&quot;X&quot;:{&quot;Pos&quot;:1},&quot;Y&quot;:{&quot;Pos&quot;:1}},&quot;whChangeMode&quot;:0}"/>
  <p:tag name="KSO_WM_CHIP_GROUPID" val="5f5ee1ca4d6848d78f644aeb"/>
  <p:tag name="KSO_WM_CHIP_XID" val="5f5f3b658e478fb0c58a9404"/>
  <p:tag name="KSO_WM_UNIT_FILL_FORE_SCHEMECOLOR_INDEX_BRIGHTNESS" val="0"/>
  <p:tag name="KSO_WM_UNIT_FILL_FORE_SCHEMECOLOR_INDEX" val="16"/>
  <p:tag name="KSO_WM_UNIT_FILL_TYPE" val="1"/>
  <p:tag name="KSO_WM_UNIT_SHADOW_SCHEMECOLOR_INDEX_BRIGHTNESS" val="-0.25"/>
  <p:tag name="KSO_WM_UNIT_SHADOW_SCHEMECOLOR_INDEX" val="16"/>
  <p:tag name="KSO_WM_UNIT_TEXT_FILL_FORE_SCHEMECOLOR_INDEX_BRIGHTNESS" val="0"/>
  <p:tag name="KSO_WM_UNIT_TEXT_FILL_FORE_SCHEMECOLOR_INDEX" val="2"/>
  <p:tag name="KSO_WM_UNIT_TEXT_FILL_TYPE" val="1"/>
  <p:tag name="KSO_WM_UNIT_VALUE" val="493"/>
  <p:tag name="KSO_WM_TEMPLATE_ASSEMBLE_XID" val="60656ea94054ed1e2fb7fd48"/>
  <p:tag name="KSO_WM_TEMPLATE_ASSEMBLE_GROUPID" val="60656ea94054ed1e2fb7fd48"/>
</p:tagLst>
</file>

<file path=ppt/tags/tag62.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31"/>
  <p:tag name="KSO_WM_UNIT_HIGHLIGHT" val="0"/>
  <p:tag name="KSO_WM_UNIT_COMPATIBLE" val="0"/>
  <p:tag name="KSO_WM_UNIT_DIAGRAM_ISNUMVISUAL" val="0"/>
  <p:tag name="KSO_WM_UNIT_DIAGRAM_ISREFERUNIT" val="0"/>
  <p:tag name="KSO_WM_UNIT_TYPE" val="a"/>
  <p:tag name="KSO_WM_UNIT_INDEX" val="1"/>
  <p:tag name="KSO_WM_UNIT_ID" val="diagram20211237_1*a*1"/>
  <p:tag name="KSO_WM_TEMPLATE_CATEGORY" val="diagram"/>
  <p:tag name="KSO_WM_TEMPLATE_INDEX" val="20211237"/>
  <p:tag name="KSO_WM_UNIT_LAYERLEVEL" val="1"/>
  <p:tag name="KSO_WM_TAG_VERSION" val="1.0"/>
  <p:tag name="KSO_WM_BEAUTIFY_FLAG" val="#wm#"/>
  <p:tag name="KSO_WM_UNIT_PRESET_TEXT" val="单击此处添加大标题内容"/>
  <p:tag name="KSO_WM_UNIT_DEFAULT_FONT" val="24;44;4"/>
  <p:tag name="KSO_WM_UNIT_BLOCK" val="0"/>
  <p:tag name="KSO_WM_UNIT_SHOW_EDIT_AREA_INDICATION" val="1"/>
  <p:tag name="KSO_WM_CHIP_GROUPID" val="5e7881253197e252a37019b5"/>
  <p:tag name="KSO_WM_CHIP_XID" val="5e7881253197e252a37019b6"/>
  <p:tag name="KSO_WM_UNIT_DEC_AREA_ID" val="c6235b0cf1074dd6bdcf34fe399af70b"/>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m&quot;,&quot;fill_mode&quot;:&quot;full&quot;,&quot;sacle_strategy&quot;:&quot;smart&quot;}"/>
  <p:tag name="KSO_WM_ASSEMBLE_CHIP_INDEX" val="9ad1c640d04942dbae536a7d44acd3ca"/>
  <p:tag name="KSO_WM_UNIT_TEXT_FILL_FORE_SCHEMECOLOR_INDEX_BRIGHTNESS" val="0"/>
  <p:tag name="KSO_WM_UNIT_TEXT_FILL_FORE_SCHEMECOLOR_INDEX" val="13"/>
  <p:tag name="KSO_WM_UNIT_TEXT_FILL_TYPE" val="1"/>
  <p:tag name="KSO_WM_TEMPLATE_ASSEMBLE_XID" val="60656ea94054ed1e2fb7fd48"/>
  <p:tag name="KSO_WM_TEMPLATE_ASSEMBLE_GROUPID" val="60656ea94054ed1e2fb7fd48"/>
</p:tagLst>
</file>

<file path=ppt/tags/tag63.xml><?xml version="1.0" encoding="utf-8"?>
<p:tagLst xmlns:a="http://schemas.openxmlformats.org/drawingml/2006/main" xmlns:r="http://schemas.openxmlformats.org/officeDocument/2006/relationships" xmlns:p="http://schemas.openxmlformats.org/presentationml/2006/main">
  <p:tag name="KSO_WM_UNIT_TEXT_SUBTYPE" val="a"/>
  <p:tag name="KSO_WM_UNIT_PRESET_TEXT" val="单击此处添加正文，文字是您思想的提炼，为了演示发布的良好效果，请言简意赅的阐述您的观点。您的内容已经简明扼要，字字珠玑，但信息却千丝万缕、错综复杂，需要用更多的文字来表述；但请您尽可能提炼思想的精髓，否则容易造成观者的阅读压力，适得其反。正如我们都希望改变世界，希望给别人带去光明，但更多时候我们只需要播下一颗种子，自然有微风吹拂，雨露滋养。"/>
  <p:tag name="KSO_WM_UNIT_NOCLEAR" val="0"/>
  <p:tag name="KSO_WM_UNIT_HIGHLIGHT" val="0"/>
  <p:tag name="KSO_WM_UNIT_COMPATIBLE" val="0"/>
  <p:tag name="KSO_WM_UNIT_DIAGRAM_ISNUMVISUAL" val="0"/>
  <p:tag name="KSO_WM_UNIT_DIAGRAM_ISREFERUNIT" val="0"/>
  <p:tag name="KSO_WM_UNIT_TYPE" val="h_f"/>
  <p:tag name="KSO_WM_UNIT_INDEX" val="1_1"/>
  <p:tag name="KSO_WM_UNIT_ID" val="diagram20211237_1*h_f*1_1"/>
  <p:tag name="KSO_WM_TEMPLATE_CATEGORY" val="diagram"/>
  <p:tag name="KSO_WM_TEMPLATE_INDEX" val="20211237"/>
  <p:tag name="KSO_WM_UNIT_LAYERLEVEL" val="1_1"/>
  <p:tag name="KSO_WM_TAG_VERSION" val="1.0"/>
  <p:tag name="KSO_WM_BEAUTIFY_FLAG" val="#wm#"/>
  <p:tag name="KSO_WM_UNIT_SUBTYPE" val="a"/>
  <p:tag name="KSO_WM_UNIT_DEFAULT_FONT" val="14;20;2"/>
  <p:tag name="KSO_WM_UNIT_BLOCK" val="0"/>
  <p:tag name="KSO_WM_UNIT_VALUE" val="207"/>
  <p:tag name="KSO_WM_UNIT_SHOW_EDIT_AREA_INDICATION" val="1"/>
  <p:tag name="KSO_WM_CHIP_GROUPID" val="5e6b05b36848fb12bee65ad8"/>
  <p:tag name="KSO_WM_CHIP_XID" val="5e6b05b36848fb12bee65ada"/>
  <p:tag name="KSO_WM_UNIT_DEC_AREA_ID" val="5c9bff6da3744ff3860b401c60fe4afc"/>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cm&quot;,&quot;fill_mode&quot;:&quot;full&quot;,&quot;sacle_strategy&quot;:&quot;smart&quot;}"/>
  <p:tag name="KSO_WM_ASSEMBLE_CHIP_INDEX" val="f4a7099205784ebb9e8a6c88070007f8"/>
  <p:tag name="KSO_WM_UNIT_TEXT_FILL_FORE_SCHEMECOLOR_INDEX_BRIGHTNESS" val="0.25"/>
  <p:tag name="KSO_WM_UNIT_TEXT_FILL_FORE_SCHEMECOLOR_INDEX" val="13"/>
  <p:tag name="KSO_WM_UNIT_TEXT_FILL_TYPE" val="1"/>
  <p:tag name="KSO_WM_TEMPLATE_ASSEMBLE_XID" val="60656ea94054ed1e2fb7fd48"/>
  <p:tag name="KSO_WM_TEMPLATE_ASSEMBLE_GROUPID" val="60656ea94054ed1e2fb7fd48"/>
</p:tagLst>
</file>

<file path=ppt/tags/tag6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11237_1*i*3"/>
  <p:tag name="KSO_WM_TEMPLATE_CATEGORY" val="diagram"/>
  <p:tag name="KSO_WM_TEMPLATE_INDEX" val="20211237"/>
  <p:tag name="KSO_WM_UNIT_LAYERLEVEL" val="1"/>
  <p:tag name="KSO_WM_TAG_VERSION" val="1.0"/>
  <p:tag name="KSO_WM_BEAUTIFY_FLAG" val="#wm#"/>
  <p:tag name="KSO_WM_UNIT_BLOCK" val="0"/>
  <p:tag name="KSO_WM_UNIT_SM_LIMIT_TYPE" val="2"/>
  <p:tag name="KSO_WM_UNIT_DEC_AREA_ID" val="4b32df71aa3b4b56b94539aaf452f757"/>
  <p:tag name="KSO_WM_UNIT_TYPE" val="i"/>
  <p:tag name="KSO_WM_UNIT_INDEX" val="3"/>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CHIP_GROUPID" val="5f5ee1ca4d6848d78f644aeb"/>
  <p:tag name="KSO_WM_CHIP_XID" val="5f5f3b658e478fb0c58a9404"/>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 name="KSO_WM_UNIT_VALUE" val="81"/>
  <p:tag name="KSO_WM_TEMPLATE_ASSEMBLE_XID" val="60656ea94054ed1e2fb7fd48"/>
  <p:tag name="KSO_WM_TEMPLATE_ASSEMBLE_GROUPID" val="60656ea94054ed1e2fb7fd48"/>
</p:tagLst>
</file>

<file path=ppt/tags/tag6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11237_1*i*4"/>
  <p:tag name="KSO_WM_TEMPLATE_CATEGORY" val="diagram"/>
  <p:tag name="KSO_WM_TEMPLATE_INDEX" val="20211237"/>
  <p:tag name="KSO_WM_UNIT_LAYERLEVEL" val="1"/>
  <p:tag name="KSO_WM_TAG_VERSION" val="1.0"/>
  <p:tag name="KSO_WM_BEAUTIFY_FLAG" val="#wm#"/>
  <p:tag name="KSO_WM_UNIT_BLOCK" val="0"/>
  <p:tag name="KSO_WM_UNIT_SM_LIMIT_TYPE" val="2"/>
  <p:tag name="KSO_WM_UNIT_DEC_AREA_ID" val="95bed5b55032478aa8b8af2e5407bba5"/>
  <p:tag name="KSO_WM_UNIT_TYPE" val="i"/>
  <p:tag name="KSO_WM_UNIT_INDEX" val="4"/>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CHIP_GROUPID" val="5f5ee1ca4d6848d78f644aeb"/>
  <p:tag name="KSO_WM_CHIP_XID" val="5f5f3b658e478fb0c58a9404"/>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 name="KSO_WM_UNIT_VALUE" val="81"/>
  <p:tag name="KSO_WM_TEMPLATE_ASSEMBLE_XID" val="60656ea94054ed1e2fb7fd48"/>
  <p:tag name="KSO_WM_TEMPLATE_ASSEMBLE_GROUPID" val="60656ea94054ed1e2fb7fd48"/>
</p:tagLst>
</file>

<file path=ppt/tags/tag66.xml><?xml version="1.0" encoding="utf-8"?>
<p:tagLst xmlns:a="http://schemas.openxmlformats.org/drawingml/2006/main" xmlns:r="http://schemas.openxmlformats.org/officeDocument/2006/relationships" xmlns:p="http://schemas.openxmlformats.org/presentationml/2006/main">
  <p:tag name="ISLIDE.THEME" val="https://www.islide.cc;"/>
  <p:tag name="KSO_WM_SLIDE_ID" val="diagram20211237_1"/>
  <p:tag name="KSO_WM_TEMPLATE_SUBCATEGORY" val="21"/>
  <p:tag name="KSO_WM_TEMPLATE_MASTER_TYPE" val="0"/>
  <p:tag name="KSO_WM_TEMPLATE_COLOR_TYPE" val="1"/>
  <p:tag name="KSO_WM_SLIDE_TYPE" val="text"/>
  <p:tag name="KSO_WM_SLIDE_SUBTYPE" val="pureTxt"/>
  <p:tag name="KSO_WM_SLIDE_ITEM_CNT" val="0"/>
  <p:tag name="KSO_WM_SLIDE_INDEX" val="1"/>
  <p:tag name="KSO_WM_SLIDE_SIZE" val="479.952*276.702"/>
  <p:tag name="KSO_WM_SLIDE_POSITION" val="240.002*191.301"/>
  <p:tag name="KSO_WM_TAG_VERSION" val="1.0"/>
  <p:tag name="KSO_WM_BEAUTIFY_FLAG" val="#wm#"/>
  <p:tag name="KSO_WM_TEMPLATE_CATEGORY" val="diagram"/>
  <p:tag name="KSO_WM_TEMPLATE_INDEX" val="20211237"/>
  <p:tag name="KSO_WM_SLIDE_LAYOUT" val="a_h"/>
  <p:tag name="KSO_WM_SLIDE_LAYOUT_CNT" val="1_1"/>
  <p:tag name="KSO_WM_SLIDE_LAYOUT_INFO" val="{&quot;id&quot;:&quot;2021-04-01T15:11:24&quot;,&quot;maxSize&quot;:{&quot;size1&quot;:13.3},&quot;minSize&quot;:{&quot;size1&quot;:13.3},&quot;normalSize&quot;:{&quot;size1&quot;:13.3},&quot;subLayout&quot;:[{&quot;backgroundInfo&quot;:[{&quot;bottom&quot;:0,&quot;bottomAbs&quot;:false,&quot;left&quot;:0,&quot;leftAbs&quot;:false,&quot;right&quot;:0,&quot;rightAbs&quot;:false,&quot;top&quot;:0,&quot;topAbs&quot;:false,&quot;type&quot;:&quot;navigation&quot;}],&quot;id&quot;:&quot;2021-04-01T15:11:24&quot;,&quot;margin&quot;:{&quot;bottom&quot;:0.4230000674724579,&quot;left&quot;:1.2699999809265137,&quot;right&quot;:1.2699999809265137,&quot;top&quot;:0.4230000674724579},&quot;type&quot;:0},{&quot;id&quot;:&quot;2021-04-01T15:11:24&quot;,&quot;margin&quot;:{&quot;bottom&quot;:2.117000102996826,&quot;left&quot;:7.619999885559082,&quot;right&quot;:7.619999885559082,&quot;top&quot;:2.117000102996826},&quot;maxSize&quot;:{&quot;size1&quot;:40.519052914176974},&quot;minSize&quot;:{&quot;size1&quot;:24.61905291417697},&quot;normalSize&quot;:{&quot;size1&quot;:24.61905291417697},&quot;subLayout&quot;:[{&quot;id&quot;:&quot;2021-04-01T15:11:24&quot;,&quot;margin&quot;:{&quot;bottom&quot;:0.04693020507693291,&quot;left&quot;:7.619999885559082,&quot;right&quot;:7.619999885559082,&quot;top&quot;:2.117000102996826},&quot;type&quot;:0},{&quot;id&quot;:&quot;2021-04-01T15:11:24&quot;,&quot;margin&quot;:{&quot;bottom&quot;:2.117000102996826,&quot;left&quot;:7.619999885559082,&quot;right&quot;:7.619999885559082,&quot;top&quot;:0.14886131882667542},&quot;type&quot;:0}],&quot;type&quot;:0}],&quot;type&quot;:0}"/>
  <p:tag name="KSO_WM_SLIDE_BACKGROUND" val="[&quot;navigation&quot;]"/>
  <p:tag name="KSO_WM_SLIDE_RATIO" val="1.777778"/>
  <p:tag name="KSO_WM_CHIP_INFOS" val="{&quot;type&quot;:0,&quot;layout_type&quot;:&quot;navigation&quot;,&quot;layout_feature&quot;:1,&quot;aspect_ratio&quot;:&quot;16:9&quot;,&quot;same_font_size&quot;:false,&quot;diagram&quot;:{&quot;type&quot;:[],&quot;direction&quot;:0,&quot;isSupportDecBetweenItems&quot;:false},&quot;tags&quot;:{&quot;style&quot;:[&quot;商务&quot;,&quot;简约&quot;,&quot;文艺清新&quot;,&quot;中国风&quot;,&quot;卡通&quot;,&quot;欧美风&quot;,&quot;黑板风&quot;,&quot;渐变风&quot;,&quot;党政风&quot;]},&quot;slide_type&quot;:[&quot;text&quot;]}"/>
  <p:tag name="KSO_WM_CHIP_XID" val="5f5f3b658e478fb0c58a9404"/>
  <p:tag name="KSO_WM_CHIP_FILLPROP" val="[[{&quot;text_align&quot;:&quot;lm&quot;,&quot;text_direction&quot;:&quot;horizontal&quot;,&quot;support_big_font&quot;:false,&quot;picture_toward&quot;:0,&quot;picture_dockside&quot;:[],&quot;fill_id&quot;:&quot;c934b58042b44607bfcc30469ccc57d1&quot;,&quot;fill_align&quot;:&quot;lm&quot;,&quot;chip_types&quot;:[&quot;header&quot;]},{&quot;text_align&quot;:&quot;lm&quot;,&quot;text_direction&quot;:&quot;horizontal&quot;,&quot;support_features&quot;:[&quot;collage&quot;],&quot;support_big_font&quot;:false,&quot;picture_toward&quot;:0,&quot;picture_dockside&quot;:[],&quot;fill_id&quot;:&quot;2ca697fb6ed3405a815a26366cd6d128&quot;,&quot;fill_align&quot;:&quot;cm&quot;,&quot;chip_types&quot;:[&quot;diagram&quot;,&quot;text&quot;,&quot;picture&quot;,&quot;chart&quot;,&quot;table&quot;,&quot;video&quot;]}]]"/>
  <p:tag name="FIXED_XID_TMP" val="5f5ee1ca4d6848d78f644aeb"/>
  <p:tag name="KSO_WM_SLIDE_CAN_ADD_NAVIGATION" val="1"/>
  <p:tag name="KSO_WM_CHIP_DECFILLPROP" val="[]"/>
  <p:tag name="KSO_WM_CHIP_GROUPID" val="5f5ee1ca4d6848d78f644aeb"/>
  <p:tag name="KSO_WM_SLIDE_BK_DARK_LIGHT" val="2"/>
  <p:tag name="KSO_WM_SLIDE_BACKGROUND_TYPE" val="navigation"/>
  <p:tag name="KSO_WM_SLIDE_SUPPORT_FEATURE_TYPE" val="0"/>
  <p:tag name="KSO_WM_TEMPLATE_ASSEMBLE_XID" val="60656ea94054ed1e2fb7fd48"/>
  <p:tag name="KSO_WM_TEMPLATE_ASSEMBLE_GROUPID" val="60656ea94054ed1e2fb7fd48"/>
</p:tagLst>
</file>

<file path=ppt/tags/tag6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11237_1*i*1"/>
  <p:tag name="KSO_WM_UNIT_LAYERLEVEL" val="1"/>
  <p:tag name="KSO_WM_TAG_VERSION" val="1.0"/>
  <p:tag name="KSO_WM_BEAUTIFY_FLAG" val="#wm#"/>
  <p:tag name="KSO_WM_UNIT_TYPE" val="i"/>
  <p:tag name="KSO_WM_UNIT_INDEX" val="1"/>
  <p:tag name="KSO_WM_UNIT_SUBTYPE" val="h"/>
  <p:tag name="KSO_WM_SLIDE_BACKGROUND_TYPE" val="navigation"/>
  <p:tag name="KSO_WM_SLIDE_BK_DARK_LIGHT" val="2"/>
  <p:tag name="KSO_WM_UNIT_BK_DARK_LIGHT" val="2"/>
  <p:tag name="KSO_WM_UNIT_FILL_FORE_SCHEMECOLOR_INDEX_BRIGHTNESS" val="0"/>
  <p:tag name="KSO_WM_UNIT_FILL_FORE_SCHEMECOLOR_INDEX" val="15"/>
  <p:tag name="KSO_WM_UNIT_FILL_TYPE" val="1"/>
  <p:tag name="KSO_WM_UNIT_TEXT_FILL_FORE_SCHEMECOLOR_INDEX_BRIGHTNESS" val="0"/>
  <p:tag name="KSO_WM_UNIT_TEXT_FILL_FORE_SCHEMECOLOR_INDEX" val="2"/>
  <p:tag name="KSO_WM_UNIT_TEXT_FILL_TYPE" val="1"/>
  <p:tag name="KSO_WM_TEMPLATE_CATEGORY" val="diagram"/>
  <p:tag name="KSO_WM_TEMPLATE_INDEX" val="20211237"/>
  <p:tag name="KSO_WM_UNIT_VALUE" val="159"/>
  <p:tag name="KSO_WM_TEMPLATE_ASSEMBLE_XID" val="60656ea94054ed1e2fb7fd48"/>
  <p:tag name="KSO_WM_TEMPLATE_ASSEMBLE_GROUPID" val="60656ea94054ed1e2fb7fd48"/>
</p:tagLst>
</file>

<file path=ppt/tags/tag6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
  <p:tag name="KSO_WM_UNIT_ID" val="diagram20211237_1*i*2"/>
  <p:tag name="KSO_WM_TEMPLATE_CATEGORY" val="diagram"/>
  <p:tag name="KSO_WM_TEMPLATE_INDEX" val="20211237"/>
  <p:tag name="KSO_WM_UNIT_LAYERLEVEL" val="1"/>
  <p:tag name="KSO_WM_TAG_VERSION" val="1.0"/>
  <p:tag name="KSO_WM_BEAUTIFY_FLAG" val="#wm#"/>
  <p:tag name="KSO_WM_UNIT_BLOCK" val="0"/>
  <p:tag name="KSO_WM_UNIT_SM_LIMIT_TYPE" val="2"/>
  <p:tag name="KSO_WM_UNIT_DEC_AREA_ID" val="26e1bf8bf2854514a6de2a57da304cf6"/>
  <p:tag name="KSO_WM_UNIT_DECORATE_INFO" val="{&quot;DecorateInfoH&quot;:{&quot;IsAbs&quot;:true},&quot;DecorateInfoW&quot;:{&quot;IsAbs&quot;:true},&quot;DecorateInfoX&quot;:{&quot;IsAbs&quot;:true,&quot;Pos&quot;:1},&quot;DecorateInfoY&quot;:{&quot;IsAbs&quot;:true,&quot;Pos&quot;:1},&quot;ReferentInfo&quot;:{&quot;Id&quot;:&quot;1fcc6e64974144d79999cb4b9d8f41be;5c9bff6da3744ff3860b401c60fe4afc&quot;,&quot;X&quot;:{&quot;Pos&quot;:1},&quot;Y&quot;:{&quot;Pos&quot;:1}},&quot;whChangeMode&quot;:0}"/>
  <p:tag name="KSO_WM_CHIP_GROUPID" val="5f5ee1ca4d6848d78f644aeb"/>
  <p:tag name="KSO_WM_CHIP_XID" val="5f5f3b658e478fb0c58a9404"/>
  <p:tag name="KSO_WM_UNIT_FILL_FORE_SCHEMECOLOR_INDEX_BRIGHTNESS" val="0"/>
  <p:tag name="KSO_WM_UNIT_FILL_FORE_SCHEMECOLOR_INDEX" val="16"/>
  <p:tag name="KSO_WM_UNIT_FILL_TYPE" val="1"/>
  <p:tag name="KSO_WM_UNIT_SHADOW_SCHEMECOLOR_INDEX_BRIGHTNESS" val="-0.25"/>
  <p:tag name="KSO_WM_UNIT_SHADOW_SCHEMECOLOR_INDEX" val="16"/>
  <p:tag name="KSO_WM_UNIT_TEXT_FILL_FORE_SCHEMECOLOR_INDEX_BRIGHTNESS" val="0"/>
  <p:tag name="KSO_WM_UNIT_TEXT_FILL_FORE_SCHEMECOLOR_INDEX" val="2"/>
  <p:tag name="KSO_WM_UNIT_TEXT_FILL_TYPE" val="1"/>
  <p:tag name="KSO_WM_UNIT_VALUE" val="493"/>
  <p:tag name="KSO_WM_TEMPLATE_ASSEMBLE_XID" val="60656ea94054ed1e2fb7fd48"/>
  <p:tag name="KSO_WM_TEMPLATE_ASSEMBLE_GROUPID" val="60656ea94054ed1e2fb7fd48"/>
</p:tagLst>
</file>

<file path=ppt/tags/tag69.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31"/>
  <p:tag name="KSO_WM_UNIT_HIGHLIGHT" val="0"/>
  <p:tag name="KSO_WM_UNIT_COMPATIBLE" val="0"/>
  <p:tag name="KSO_WM_UNIT_DIAGRAM_ISNUMVISUAL" val="0"/>
  <p:tag name="KSO_WM_UNIT_DIAGRAM_ISREFERUNIT" val="0"/>
  <p:tag name="KSO_WM_UNIT_TYPE" val="a"/>
  <p:tag name="KSO_WM_UNIT_INDEX" val="1"/>
  <p:tag name="KSO_WM_UNIT_ID" val="diagram20211237_1*a*1"/>
  <p:tag name="KSO_WM_TEMPLATE_CATEGORY" val="diagram"/>
  <p:tag name="KSO_WM_TEMPLATE_INDEX" val="20211237"/>
  <p:tag name="KSO_WM_UNIT_LAYERLEVEL" val="1"/>
  <p:tag name="KSO_WM_TAG_VERSION" val="1.0"/>
  <p:tag name="KSO_WM_BEAUTIFY_FLAG" val="#wm#"/>
  <p:tag name="KSO_WM_UNIT_PRESET_TEXT" val="单击此处添加大标题内容"/>
  <p:tag name="KSO_WM_UNIT_DEFAULT_FONT" val="24;44;4"/>
  <p:tag name="KSO_WM_UNIT_BLOCK" val="0"/>
  <p:tag name="KSO_WM_UNIT_SHOW_EDIT_AREA_INDICATION" val="1"/>
  <p:tag name="KSO_WM_CHIP_GROUPID" val="5e7881253197e252a37019b5"/>
  <p:tag name="KSO_WM_CHIP_XID" val="5e7881253197e252a37019b6"/>
  <p:tag name="KSO_WM_UNIT_DEC_AREA_ID" val="c6235b0cf1074dd6bdcf34fe399af70b"/>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m&quot;,&quot;fill_mode&quot;:&quot;full&quot;,&quot;sacle_strategy&quot;:&quot;smart&quot;}"/>
  <p:tag name="KSO_WM_ASSEMBLE_CHIP_INDEX" val="9ad1c640d04942dbae536a7d44acd3ca"/>
  <p:tag name="KSO_WM_UNIT_TEXT_FILL_FORE_SCHEMECOLOR_INDEX_BRIGHTNESS" val="0"/>
  <p:tag name="KSO_WM_UNIT_TEXT_FILL_FORE_SCHEMECOLOR_INDEX" val="13"/>
  <p:tag name="KSO_WM_UNIT_TEXT_FILL_TYPE" val="1"/>
  <p:tag name="KSO_WM_TEMPLATE_ASSEMBLE_XID" val="60656ea94054ed1e2fb7fd48"/>
  <p:tag name="KSO_WM_TEMPLATE_ASSEMBLE_GROUPID" val="60656ea94054ed1e2fb7fd48"/>
</p:tagLst>
</file>

<file path=ppt/tags/tag7.xml><?xml version="1.0" encoding="utf-8"?>
<p:tagLst xmlns:a="http://schemas.openxmlformats.org/drawingml/2006/main" xmlns:r="http://schemas.openxmlformats.org/officeDocument/2006/relationships" xmlns:p="http://schemas.openxmlformats.org/presentationml/2006/main">
  <p:tag name="KSO_WM_UNIT_SUBTYPE" val="a"/>
  <p:tag name="KSO_WM_UNIT_PRESET_TEXT" val="单击此处添加正文内容"/>
  <p:tag name="KSO_WM_UNIT_NOCLEAR" val="0"/>
  <p:tag name="KSO_WM_UNIT_HIGHLIGHT" val="0"/>
  <p:tag name="KSO_WM_UNIT_COMPATIBLE" val="0"/>
  <p:tag name="KSO_WM_UNIT_DIAGRAM_ISNUMVISUAL" val="0"/>
  <p:tag name="KSO_WM_UNIT_DIAGRAM_ISREFERUNIT" val="0"/>
  <p:tag name="KSO_WM_DIAGRAM_GROUP_CODE" val="l1-1"/>
  <p:tag name="KSO_WM_UNIT_TYPE" val="l_h_f"/>
  <p:tag name="KSO_WM_UNIT_INDEX" val="1_2_1"/>
  <p:tag name="KSO_WM_UNIT_ID" val="diagram20218393_5*l_h_f*1_2_1"/>
  <p:tag name="KSO_WM_TEMPLATE_CATEGORY" val="diagram"/>
  <p:tag name="KSO_WM_TEMPLATE_INDEX" val="20218393"/>
  <p:tag name="KSO_WM_UNIT_LAYERLEVEL" val="1_1_1"/>
  <p:tag name="KSO_WM_TAG_VERSION" val="1.0"/>
  <p:tag name="KSO_WM_BEAUTIFY_FLAG" val="#wm#"/>
  <p:tag name="KSO_WM_UNIT_TEXT_FILL_FORE_SCHEMECOLOR_INDEX_BRIGHTNESS" val="0.25"/>
  <p:tag name="KSO_WM_UNIT_TEXT_FILL_FORE_SCHEMECOLOR_INDEX" val="13"/>
  <p:tag name="KSO_WM_UNIT_TEXT_FILL_TYPE" val="1"/>
  <p:tag name="KSO_WM_UNIT_USESOURCEFORMAT_APPLY" val="1"/>
</p:tagLst>
</file>

<file path=ppt/tags/tag70.xml><?xml version="1.0" encoding="utf-8"?>
<p:tagLst xmlns:a="http://schemas.openxmlformats.org/drawingml/2006/main" xmlns:r="http://schemas.openxmlformats.org/officeDocument/2006/relationships" xmlns:p="http://schemas.openxmlformats.org/presentationml/2006/main">
  <p:tag name="KSO_WM_UNIT_TEXT_SUBTYPE" val="a"/>
  <p:tag name="KSO_WM_UNIT_PRESET_TEXT" val="单击此处添加正文，文字是您思想的提炼，为了演示发布的良好效果，请言简意赅的阐述您的观点。您的内容已经简明扼要，字字珠玑，但信息却千丝万缕、错综复杂，需要用更多的文字来表述；但请您尽可能提炼思想的精髓，否则容易造成观者的阅读压力，适得其反。正如我们都希望改变世界，希望给别人带去光明，但更多时候我们只需要播下一颗种子，自然有微风吹拂，雨露滋养。"/>
  <p:tag name="KSO_WM_UNIT_NOCLEAR" val="0"/>
  <p:tag name="KSO_WM_UNIT_HIGHLIGHT" val="0"/>
  <p:tag name="KSO_WM_UNIT_COMPATIBLE" val="0"/>
  <p:tag name="KSO_WM_UNIT_DIAGRAM_ISNUMVISUAL" val="0"/>
  <p:tag name="KSO_WM_UNIT_DIAGRAM_ISREFERUNIT" val="0"/>
  <p:tag name="KSO_WM_UNIT_TYPE" val="h_f"/>
  <p:tag name="KSO_WM_UNIT_INDEX" val="1_1"/>
  <p:tag name="KSO_WM_UNIT_ID" val="diagram20211237_1*h_f*1_1"/>
  <p:tag name="KSO_WM_TEMPLATE_CATEGORY" val="diagram"/>
  <p:tag name="KSO_WM_TEMPLATE_INDEX" val="20211237"/>
  <p:tag name="KSO_WM_UNIT_LAYERLEVEL" val="1_1"/>
  <p:tag name="KSO_WM_TAG_VERSION" val="1.0"/>
  <p:tag name="KSO_WM_BEAUTIFY_FLAG" val="#wm#"/>
  <p:tag name="KSO_WM_UNIT_SUBTYPE" val="a"/>
  <p:tag name="KSO_WM_UNIT_DEFAULT_FONT" val="14;20;2"/>
  <p:tag name="KSO_WM_UNIT_BLOCK" val="0"/>
  <p:tag name="KSO_WM_UNIT_VALUE" val="207"/>
  <p:tag name="KSO_WM_UNIT_SHOW_EDIT_AREA_INDICATION" val="1"/>
  <p:tag name="KSO_WM_CHIP_GROUPID" val="5e6b05b36848fb12bee65ad8"/>
  <p:tag name="KSO_WM_CHIP_XID" val="5e6b05b36848fb12bee65ada"/>
  <p:tag name="KSO_WM_UNIT_DEC_AREA_ID" val="5c9bff6da3744ff3860b401c60fe4afc"/>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cm&quot;,&quot;fill_mode&quot;:&quot;full&quot;,&quot;sacle_strategy&quot;:&quot;smart&quot;}"/>
  <p:tag name="KSO_WM_ASSEMBLE_CHIP_INDEX" val="f4a7099205784ebb9e8a6c88070007f8"/>
  <p:tag name="KSO_WM_UNIT_TEXT_FILL_FORE_SCHEMECOLOR_INDEX_BRIGHTNESS" val="0.25"/>
  <p:tag name="KSO_WM_UNIT_TEXT_FILL_FORE_SCHEMECOLOR_INDEX" val="13"/>
  <p:tag name="KSO_WM_UNIT_TEXT_FILL_TYPE" val="1"/>
  <p:tag name="KSO_WM_TEMPLATE_ASSEMBLE_XID" val="60656ea94054ed1e2fb7fd48"/>
  <p:tag name="KSO_WM_TEMPLATE_ASSEMBLE_GROUPID" val="60656ea94054ed1e2fb7fd48"/>
</p:tagLst>
</file>

<file path=ppt/tags/tag7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11237_1*i*3"/>
  <p:tag name="KSO_WM_TEMPLATE_CATEGORY" val="diagram"/>
  <p:tag name="KSO_WM_TEMPLATE_INDEX" val="20211237"/>
  <p:tag name="KSO_WM_UNIT_LAYERLEVEL" val="1"/>
  <p:tag name="KSO_WM_TAG_VERSION" val="1.0"/>
  <p:tag name="KSO_WM_BEAUTIFY_FLAG" val="#wm#"/>
  <p:tag name="KSO_WM_UNIT_BLOCK" val="0"/>
  <p:tag name="KSO_WM_UNIT_SM_LIMIT_TYPE" val="2"/>
  <p:tag name="KSO_WM_UNIT_DEC_AREA_ID" val="4b32df71aa3b4b56b94539aaf452f757"/>
  <p:tag name="KSO_WM_UNIT_TYPE" val="i"/>
  <p:tag name="KSO_WM_UNIT_INDEX" val="3"/>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CHIP_GROUPID" val="5f5ee1ca4d6848d78f644aeb"/>
  <p:tag name="KSO_WM_CHIP_XID" val="5f5f3b658e478fb0c58a9404"/>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 name="KSO_WM_UNIT_VALUE" val="81"/>
  <p:tag name="KSO_WM_TEMPLATE_ASSEMBLE_XID" val="60656ea94054ed1e2fb7fd48"/>
  <p:tag name="KSO_WM_TEMPLATE_ASSEMBLE_GROUPID" val="60656ea94054ed1e2fb7fd48"/>
</p:tagLst>
</file>

<file path=ppt/tags/tag7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11237_1*i*4"/>
  <p:tag name="KSO_WM_TEMPLATE_CATEGORY" val="diagram"/>
  <p:tag name="KSO_WM_TEMPLATE_INDEX" val="20211237"/>
  <p:tag name="KSO_WM_UNIT_LAYERLEVEL" val="1"/>
  <p:tag name="KSO_WM_TAG_VERSION" val="1.0"/>
  <p:tag name="KSO_WM_BEAUTIFY_FLAG" val="#wm#"/>
  <p:tag name="KSO_WM_UNIT_BLOCK" val="0"/>
  <p:tag name="KSO_WM_UNIT_SM_LIMIT_TYPE" val="2"/>
  <p:tag name="KSO_WM_UNIT_DEC_AREA_ID" val="95bed5b55032478aa8b8af2e5407bba5"/>
  <p:tag name="KSO_WM_UNIT_TYPE" val="i"/>
  <p:tag name="KSO_WM_UNIT_INDEX" val="4"/>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CHIP_GROUPID" val="5f5ee1ca4d6848d78f644aeb"/>
  <p:tag name="KSO_WM_CHIP_XID" val="5f5f3b658e478fb0c58a9404"/>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 name="KSO_WM_UNIT_VALUE" val="81"/>
  <p:tag name="KSO_WM_TEMPLATE_ASSEMBLE_XID" val="60656ea94054ed1e2fb7fd48"/>
  <p:tag name="KSO_WM_TEMPLATE_ASSEMBLE_GROUPID" val="60656ea94054ed1e2fb7fd48"/>
</p:tagLst>
</file>

<file path=ppt/tags/tag7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4.xml><?xml version="1.0" encoding="utf-8"?>
<p:tagLst xmlns:a="http://schemas.openxmlformats.org/drawingml/2006/main" xmlns:r="http://schemas.openxmlformats.org/officeDocument/2006/relationships" xmlns:p="http://schemas.openxmlformats.org/presentationml/2006/main">
  <p:tag name="ISLIDE.THEME" val="https://www.islide.cc;"/>
  <p:tag name="KSO_WM_SLIDE_ID" val="diagram20212448_1"/>
  <p:tag name="KSO_WM_TEMPLATE_SUBCATEGORY" val="21"/>
  <p:tag name="KSO_WM_TEMPLATE_MASTER_TYPE" val="0"/>
  <p:tag name="KSO_WM_TEMPLATE_COLOR_TYPE" val="1"/>
  <p:tag name="KSO_WM_SLIDE_TYPE" val="text"/>
  <p:tag name="KSO_WM_SLIDE_SUBTYPE" val="pureTxt"/>
  <p:tag name="KSO_WM_SLIDE_ITEM_CNT" val="0"/>
  <p:tag name="KSO_WM_SLIDE_INDEX" val="1"/>
  <p:tag name="KSO_WM_TAG_VERSION" val="1.0"/>
  <p:tag name="KSO_WM_BEAUTIFY_FLAG" val="#wm#"/>
  <p:tag name="KSO_WM_TEMPLATE_CATEGORY" val="diagram"/>
  <p:tag name="KSO_WM_TEMPLATE_INDEX" val="20212448"/>
  <p:tag name="KSO_WM_SLIDE_LAYOUT" val="a_f"/>
  <p:tag name="KSO_WM_SLIDE_LAYOUT_CNT" val="1_1"/>
  <p:tag name="KSO_WM_TEMPLATE_THUMBS_INDEX" val="1、4、7、12、13、14、15、16、17、18、20、24、25、28、33、36、40、43、44"/>
  <p:tag name="KSO_WM_SLIDE_LAYOUT_INFO" val="{&quot;backgroundInfo&quot;:[{&quot;bottom&quot;:0,&quot;bottomAbs&quot;:false,&quot;left&quot;:0,&quot;leftAbs&quot;:false,&quot;right&quot;:0,&quot;rightAbs&quot;:false,&quot;top&quot;:0,&quot;topAbs&quot;:false,&quot;type&quot;:&quot;general&quot;}],&quot;direction&quot;:1,&quot;id&quot;:&quot;2021-04-01T15:36:41&quot;,&quot;maxSize&quot;:{&quot;size1&quot;:45},&quot;minSize&quot;:{&quot;size1&quot;:45},&quot;normalSize&quot;:{&quot;size1&quot;:45},&quot;subLayout&quot;:[{&quot;id&quot;:&quot;2021-04-01T15:36:41&quot;,&quot;margin&quot;:{&quot;bottom&quot;:8.467000007629395,&quot;left&quot;:2.9629998207092285,&quot;right&quot;:3.809999942779541,&quot;top&quot;:6.7729997634887695},&quot;type&quot;:0},{&quot;id&quot;:&quot;2021-04-01T15:36:41&quot;,&quot;margin&quot;:{&quot;bottom&quot;:4.657000541687012,&quot;left&quot;:0,&quot;right&quot;:5.079999923706055,&quot;top&quot;:4.657000541687012},&quot;type&quot;:0}],&quot;type&quot;:0}"/>
  <p:tag name="KSO_WM_SLIDE_BACKGROUND" val="[&quot;general&quot;]"/>
  <p:tag name="KSO_WM_SLIDE_RATIO" val="1.777778"/>
  <p:tag name="KSO_WM_CHIP_INFOS" val="{&quot;type&quot;:0,&quot;layout_type&quot;:&quot;leftright&quot;,&quot;layout_feature&quot;:1,&quot;aspect_ratio&quot;:&quot;16:9&quot;,&quot;same_font_size&quot;:false,&quot;diagram&quot;:{&quot;type&quot;:[],&quot;direction&quot;:0,&quot;isSupportDecBetweenItems&quot;:false},&quot;tags&quot;:{&quot;style&quot;:[&quot;商务&quot;,&quot;简约&quot;,&quot;文艺清新&quot;,&quot;中国风&quot;,&quot;卡通&quot;,&quot;欧美风&quot;,&quot;黑板风&quot;,&quot;渐变风&quot;,&quot;党政风&quot;]},&quot;slide_type&quot;:[&quot;text&quot;]}"/>
  <p:tag name="KSO_WM_CHIP_FILLPROP" val="[[{&quot;text_align&quot;:&quot;rm&quot;,&quot;text_direction&quot;:&quot;horizontal&quot;,&quot;support_big_font&quot;:true,&quot;fill_id&quot;:&quot;cb509c17ded54b42a5e9a84a0ad13dd5&quot;,&quot;fill_align&quot;:&quot;rm&quot;,&quot;chip_types&quot;:[&quot;header&quot;]},{&quot;text_align&quot;:&quot;lm&quot;,&quot;text_direction&quot;:&quot;horizontal&quot;,&quot;support_features&quot;:[&quot;collage&quot;,&quot;carousel&quot;],&quot;support_big_font&quot;:true,&quot;fill_id&quot;:&quot;e3486b1120c742108a49a661a8c9d9f1&quot;,&quot;fill_align&quot;:&quot;lm&quot;,&quot;chip_types&quot;:[&quot;text&quot;,&quot;picture&quot;,&quot;chart&quot;,&quot;table&quot;]}]]"/>
  <p:tag name="KSO_WM_SLIDE_SIZE" val="960*540"/>
  <p:tag name="KSO_WM_SLIDE_POSITION" val="0*0"/>
  <p:tag name="KSO_WM_CHIP_XID" val="5f229415dda340fd2c9b5869"/>
  <p:tag name="KSO_WM_CHIP_DECFILLPROP" val="[]"/>
  <p:tag name="KSO_WM_CHIP_GROUPID" val="5f229415dda340fd2c9b5868"/>
  <p:tag name="KSO_WM_SLIDE_BK_DARK_LIGHT" val="2"/>
  <p:tag name="KSO_WM_SLIDE_BACKGROUND_TYPE" val="general"/>
  <p:tag name="KSO_WM_SLIDE_SUPPORT_FEATURE_TYPE" val="0"/>
  <p:tag name="KSO_WM_TEMPLATE_ASSEMBLE_XID" val="60656f444054ed1e2fb8068c"/>
  <p:tag name="KSO_WM_TEMPLATE_ASSEMBLE_GROUPID" val="60656f444054ed1e2fb8068c"/>
</p:tagLst>
</file>

<file path=ppt/tags/tag75.xml><?xml version="1.0" encoding="utf-8"?>
<p:tagLst xmlns:a="http://schemas.openxmlformats.org/drawingml/2006/main" xmlns:r="http://schemas.openxmlformats.org/officeDocument/2006/relationships" xmlns:p="http://schemas.openxmlformats.org/presentationml/2006/main">
  <p:tag name="KSO_WM_UNIT_BLOCK" val="0"/>
  <p:tag name="KSO_WM_UNIT_SM_LIMIT_TYPE" val="2"/>
  <p:tag name="KSO_WM_UNIT_DEC_AREA_ID" val="26a9ccf0e73b4d1f84674de5ed0b5c14"/>
  <p:tag name="KSO_WM_UNIT_HIGHLIGHT" val="0"/>
  <p:tag name="KSO_WM_UNIT_COMPATIBLE" val="0"/>
  <p:tag name="KSO_WM_UNIT_DIAGRAM_ISNUMVISUAL" val="0"/>
  <p:tag name="KSO_WM_UNIT_DIAGRAM_ISREFERUNIT" val="0"/>
  <p:tag name="KSO_WM_UNIT_TYPE" val="i"/>
  <p:tag name="KSO_WM_UNIT_INDEX" val="1"/>
  <p:tag name="KSO_WM_UNIT_ID" val="diagram20212448_1*i*1"/>
  <p:tag name="KSO_WM_TEMPLATE_CATEGORY" val="diagram"/>
  <p:tag name="KSO_WM_TEMPLATE_INDEX" val="20212448"/>
  <p:tag name="KSO_WM_UNIT_LAYERLEVEL" val="1"/>
  <p:tag name="KSO_WM_TAG_VERSION" val="1.0"/>
  <p:tag name="KSO_WM_BEAUTIFY_FLAG" val="#wm#"/>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1}"/>
  <p:tag name="KSO_WM_CHIP_GROUPID" val="5f229415dda340fd2c9b5868"/>
  <p:tag name="KSO_WM_CHIP_XID" val="5f229415dda340fd2c9b5869"/>
  <p:tag name="KSO_WM_UNIT_FILL_FORE_SCHEMECOLOR_INDEX_BRIGHTNESS" val="0"/>
  <p:tag name="KSO_WM_UNIT_FILL_FORE_SCHEMECOLOR_INDEX" val="5"/>
  <p:tag name="KSO_WM_UNIT_FILL_BACK_SCHEMECOLOR_INDEX_BRIGHTNESS" val="0"/>
  <p:tag name="KSO_WM_UNIT_FILL_BACK_SCHEMECOLOR_INDEX" val="14"/>
  <p:tag name="KSO_WM_UNIT_FILL_TYPE" val="2"/>
  <p:tag name="KSO_WM_UNIT_TEXT_FILL_FORE_SCHEMECOLOR_INDEX_BRIGHTNESS" val="0"/>
  <p:tag name="KSO_WM_UNIT_TEXT_FILL_FORE_SCHEMECOLOR_INDEX" val="2"/>
  <p:tag name="KSO_WM_UNIT_TEXT_FILL_TYPE" val="1"/>
  <p:tag name="KSO_WM_UNIT_VALUE" val="1325"/>
  <p:tag name="KSO_WM_TEMPLATE_ASSEMBLE_XID" val="60656f444054ed1e2fb8068c"/>
  <p:tag name="KSO_WM_TEMPLATE_ASSEMBLE_GROUPID" val="60656f444054ed1e2fb8068c"/>
</p:tagLst>
</file>

<file path=ppt/tags/tag76.xml><?xml version="1.0" encoding="utf-8"?>
<p:tagLst xmlns:a="http://schemas.openxmlformats.org/drawingml/2006/main" xmlns:r="http://schemas.openxmlformats.org/officeDocument/2006/relationships" xmlns:p="http://schemas.openxmlformats.org/presentationml/2006/main">
  <p:tag name="KSO_WM_UNIT_BLOCK" val="0"/>
  <p:tag name="KSO_WM_UNIT_SM_LIMIT_TYPE" val="2"/>
  <p:tag name="KSO_WM_UNIT_DEC_AREA_ID" val="7615c596ff1945c3b89be150430fe5cf"/>
  <p:tag name="KSO_WM_UNIT_HIGHLIGHT" val="0"/>
  <p:tag name="KSO_WM_UNIT_COMPATIBLE" val="0"/>
  <p:tag name="KSO_WM_UNIT_DIAGRAM_ISNUMVISUAL" val="0"/>
  <p:tag name="KSO_WM_UNIT_DIAGRAM_ISREFERUNIT" val="0"/>
  <p:tag name="KSO_WM_UNIT_TYPE" val="i"/>
  <p:tag name="KSO_WM_UNIT_INDEX" val="2"/>
  <p:tag name="KSO_WM_UNIT_ID" val="diagram20212448_1*i*2"/>
  <p:tag name="KSO_WM_TEMPLATE_CATEGORY" val="diagram"/>
  <p:tag name="KSO_WM_TEMPLATE_INDEX" val="20212448"/>
  <p:tag name="KSO_WM_UNIT_LAYERLEVEL" val="1"/>
  <p:tag name="KSO_WM_TAG_VERSION" val="1.0"/>
  <p:tag name="KSO_WM_BEAUTIFY_FLAG" val="#wm#"/>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1}"/>
  <p:tag name="KSO_WM_CHIP_GROUPID" val="5f229415dda340fd2c9b5868"/>
  <p:tag name="KSO_WM_CHIP_XID" val="5f229415dda340fd2c9b5869"/>
  <p:tag name="KSO_WM_UNIT_FILL_FORE_SCHEMECOLOR_INDEX_BRIGHTNESS" val="0"/>
  <p:tag name="KSO_WM_UNIT_FILL_FORE_SCHEMECOLOR_INDEX" val="16"/>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 name="KSO_WM_UNIT_VALUE" val="748"/>
  <p:tag name="KSO_WM_TEMPLATE_ASSEMBLE_XID" val="60656f444054ed1e2fb8068c"/>
  <p:tag name="KSO_WM_TEMPLATE_ASSEMBLE_GROUPID" val="60656f444054ed1e2fb8068c"/>
</p:tagLst>
</file>

<file path=ppt/tags/tag77.xml><?xml version="1.0" encoding="utf-8"?>
<p:tagLst xmlns:a="http://schemas.openxmlformats.org/drawingml/2006/main" xmlns:r="http://schemas.openxmlformats.org/officeDocument/2006/relationships" xmlns:p="http://schemas.openxmlformats.org/presentationml/2006/main">
  <p:tag name="KSO_WM_UNIT_BLOCK" val="0"/>
  <p:tag name="KSO_WM_UNIT_SM_LIMIT_TYPE" val="2"/>
  <p:tag name="KSO_WM_UNIT_DEC_AREA_ID" val="b63f246397164817bf41cf6556c15022"/>
  <p:tag name="KSO_WM_UNIT_HIGHLIGHT" val="0"/>
  <p:tag name="KSO_WM_UNIT_COMPATIBLE" val="0"/>
  <p:tag name="KSO_WM_UNIT_DIAGRAM_ISNUMVISUAL" val="0"/>
  <p:tag name="KSO_WM_UNIT_DIAGRAM_ISREFERUNIT" val="0"/>
  <p:tag name="KSO_WM_UNIT_TYPE" val="i"/>
  <p:tag name="KSO_WM_UNIT_INDEX" val="3"/>
  <p:tag name="KSO_WM_UNIT_ID" val="diagram20212448_1*i*3"/>
  <p:tag name="KSO_WM_TEMPLATE_CATEGORY" val="diagram"/>
  <p:tag name="KSO_WM_TEMPLATE_INDEX" val="20212448"/>
  <p:tag name="KSO_WM_UNIT_LAYERLEVEL" val="1"/>
  <p:tag name="KSO_WM_TAG_VERSION" val="1.0"/>
  <p:tag name="KSO_WM_BEAUTIFY_FLAG" val="#wm#"/>
  <p:tag name="KSO_WM_UNIT_DECORATE_INFO" val="{&quot;DecorateInfoH&quot;:{&quot;IsAbs&quot;:true},&quot;DecorateInfoW&quot;:{&quot;IsAbs&quot;:true},&quot;DecorateInfoX&quot;:{&quot;IsAbs&quot;:true,&quot;Pos&quot;:2},&quot;DecorateInfoY&quot;:{&quot;IsAbs&quot;:true,&quot;Pos&quot;:2},&quot;ReferentInfo&quot;:{&quot;Id&quot;:&quot;03a9f8db1f9a459bbda07269ee35e8d7&quot;,&quot;X&quot;:{&quot;Pos&quot;:2},&quot;Y&quot;:{&quot;Pos&quot;:2}},&quot;whChangeMode&quot;:0}"/>
  <p:tag name="KSO_WM_CHIP_GROUPID" val="5f229415dda340fd2c9b5868"/>
  <p:tag name="KSO_WM_CHIP_XID" val="5f229415dda340fd2c9b5869"/>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 name="KSO_WM_UNIT_VALUE" val="95"/>
  <p:tag name="KSO_WM_TEMPLATE_ASSEMBLE_XID" val="60656f444054ed1e2fb8068c"/>
  <p:tag name="KSO_WM_TEMPLATE_ASSEMBLE_GROUPID" val="60656f444054ed1e2fb8068c"/>
</p:tagLst>
</file>

<file path=ppt/tags/tag78.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6"/>
  <p:tag name="KSO_WM_UNIT_HIGHLIGHT" val="0"/>
  <p:tag name="KSO_WM_UNIT_COMPATIBLE" val="0"/>
  <p:tag name="KSO_WM_UNIT_DIAGRAM_ISNUMVISUAL" val="0"/>
  <p:tag name="KSO_WM_UNIT_DIAGRAM_ISREFERUNIT" val="0"/>
  <p:tag name="KSO_WM_UNIT_TYPE" val="a"/>
  <p:tag name="KSO_WM_UNIT_INDEX" val="1"/>
  <p:tag name="KSO_WM_UNIT_ID" val="diagram20212448_1*a*1"/>
  <p:tag name="KSO_WM_TEMPLATE_CATEGORY" val="diagram"/>
  <p:tag name="KSO_WM_TEMPLATE_INDEX" val="20212448"/>
  <p:tag name="KSO_WM_UNIT_LAYERLEVEL" val="1"/>
  <p:tag name="KSO_WM_TAG_VERSION" val="1.0"/>
  <p:tag name="KSO_WM_BEAUTIFY_FLAG" val="#wm#"/>
  <p:tag name="KSO_WM_UNIT_PRESET_TEXT" val="标题"/>
  <p:tag name="KSO_WM_UNIT_DEFAULT_FONT" val="24;44;4"/>
  <p:tag name="KSO_WM_UNIT_BLOCK" val="0"/>
  <p:tag name="KSO_WM_UNIT_SHOW_EDIT_AREA_INDICATION" val="1"/>
  <p:tag name="KSO_WM_CHIP_GROUPID" val="5e7881253197e252a37019b5"/>
  <p:tag name="KSO_WM_CHIP_XID" val="5e7881253197e252a37019b6"/>
  <p:tag name="KSO_WM_UNIT_DEC_AREA_ID" val="03a9f8db1f9a459bbda07269ee35e8d7"/>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rm&quot;,&quot;fill_mode&quot;:&quot;full&quot;,&quot;sacle_strategy&quot;:&quot;smart&quot;}"/>
  <p:tag name="KSO_WM_ASSEMBLE_CHIP_INDEX" val="68a4e95e952f41c8a5d9e00167f3460a"/>
  <p:tag name="KSO_WM_UNIT_SUPPORT_BIG_FONT" val="1"/>
  <p:tag name="KSO_WM_UNIT_TEXT_FILL_FORE_SCHEMECOLOR_INDEX_BRIGHTNESS" val="0"/>
  <p:tag name="KSO_WM_UNIT_TEXT_FILL_FORE_SCHEMECOLOR_INDEX" val="13"/>
  <p:tag name="KSO_WM_UNIT_TEXT_FILL_TYPE" val="1"/>
  <p:tag name="KSO_WM_TEMPLATE_ASSEMBLE_XID" val="60656f444054ed1e2fb8068c"/>
  <p:tag name="KSO_WM_TEMPLATE_ASSEMBLE_GROUPID" val="60656f444054ed1e2fb8068c"/>
</p:tagLst>
</file>

<file path=ppt/tags/tag79.xml><?xml version="1.0" encoding="utf-8"?>
<p:tagLst xmlns:a="http://schemas.openxmlformats.org/drawingml/2006/main" xmlns:r="http://schemas.openxmlformats.org/officeDocument/2006/relationships" xmlns:p="http://schemas.openxmlformats.org/presentationml/2006/main">
  <p:tag name="KSO_WM_UNIT_TEXT_SUBTYPE" val="a"/>
  <p:tag name="KSO_WM_UNIT_SUBTYPE" val="a"/>
  <p:tag name="KSO_WM_UNIT_PRESET_TEXT" val="单击此处添加正文，文字是您思想的提炼，为了演示发布的良好效果，请言简意赅的阐述您的观点。您的内容已经简明扼要，字字珠玑，但信息却千丝万缕、错综复杂。"/>
  <p:tag name="KSO_WM_UNIT_NOCLEAR" val="0"/>
  <p:tag name="KSO_WM_UNIT_HIGHLIGHT" val="0"/>
  <p:tag name="KSO_WM_UNIT_COMPATIBLE" val="0"/>
  <p:tag name="KSO_WM_UNIT_DIAGRAM_ISNUMVISUAL" val="0"/>
  <p:tag name="KSO_WM_UNIT_DIAGRAM_ISREFERUNIT" val="0"/>
  <p:tag name="KSO_WM_UNIT_TYPE" val="f"/>
  <p:tag name="KSO_WM_UNIT_INDEX" val="1"/>
  <p:tag name="KSO_WM_UNIT_ID" val="diagram20212448_1*f*1"/>
  <p:tag name="KSO_WM_TEMPLATE_CATEGORY" val="diagram"/>
  <p:tag name="KSO_WM_TEMPLATE_INDEX" val="20212448"/>
  <p:tag name="KSO_WM_UNIT_LAYERLEVEL" val="1"/>
  <p:tag name="KSO_WM_TAG_VERSION" val="1.0"/>
  <p:tag name="KSO_WM_BEAUTIFY_FLAG" val="#wm#"/>
  <p:tag name="KSO_WM_UNIT_DEFAULT_FONT" val="14;20;2"/>
  <p:tag name="KSO_WM_UNIT_BLOCK" val="0"/>
  <p:tag name="KSO_WM_UNIT_VALUE" val="85"/>
  <p:tag name="KSO_WM_UNIT_SHOW_EDIT_AREA_INDICATION" val="1"/>
  <p:tag name="KSO_WM_CHIP_GROUPID" val="5e6b05596848fb12bee65ac8"/>
  <p:tag name="KSO_WM_CHIP_XID" val="5e6b05596848fb12bee65aca"/>
  <p:tag name="KSO_WM_UNIT_DEC_AREA_ID" val="79ca83d956ce4dbeb1142a3a68e34555"/>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m&quot;,&quot;fill_mode&quot;:&quot;full&quot;,&quot;sacle_strategy&quot;:&quot;smart&quot;}"/>
  <p:tag name="KSO_WM_ASSEMBLE_CHIP_INDEX" val="bbf2f0fb6a9f465ca8c8f67f6ab8b409"/>
  <p:tag name="KSO_WM_UNIT_SUPPORT_BIG_FONT" val="1"/>
  <p:tag name="KSO_WM_UNIT_SUPPORT_UNIT_TYPE" val="[&quot;d&quot;,&quot;α&quot;,&quot;β&quot;]"/>
  <p:tag name="KSO_WM_UNIT_TEXT_FILL_FORE_SCHEMECOLOR_INDEX_BRIGHTNESS" val="0.25"/>
  <p:tag name="KSO_WM_UNIT_TEXT_FILL_FORE_SCHEMECOLOR_INDEX" val="13"/>
  <p:tag name="KSO_WM_UNIT_TEXT_FILL_TYPE" val="1"/>
  <p:tag name="KSO_WM_TEMPLATE_ASSEMBLE_XID" val="60656f444054ed1e2fb8068c"/>
  <p:tag name="KSO_WM_TEMPLATE_ASSEMBLE_GROUPID" val="60656f444054ed1e2fb8068c"/>
</p:tagLst>
</file>

<file path=ppt/tags/tag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2_1"/>
  <p:tag name="KSO_WM_UNIT_ID" val="diagram20218393_5*l_h_i*1_2_1"/>
  <p:tag name="KSO_WM_TEMPLATE_CATEGORY" val="diagram"/>
  <p:tag name="KSO_WM_TEMPLATE_INDEX" val="20218393"/>
  <p:tag name="KSO_WM_UNIT_LAYERLEVEL" val="1_1_1"/>
  <p:tag name="KSO_WM_TAG_VERSION" val="1.0"/>
  <p:tag name="KSO_WM_BEAUTIFY_FLAG" val="#wm#"/>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 name="KSO_WM_UNIT_USESOURCEFORMAT_APPLY" val="1"/>
</p:tagLst>
</file>

<file path=ppt/tags/tag80.xml><?xml version="1.0" encoding="utf-8"?>
<p:tagLst xmlns:a="http://schemas.openxmlformats.org/drawingml/2006/main" xmlns:r="http://schemas.openxmlformats.org/officeDocument/2006/relationships" xmlns:p="http://schemas.openxmlformats.org/presentationml/2006/main">
  <p:tag name="ISLIDE.THEME" val="https://www.islide.cc;"/>
  <p:tag name="KSO_WM_SLIDE_ID" val="diagram20212448_1"/>
  <p:tag name="KSO_WM_TEMPLATE_SUBCATEGORY" val="21"/>
  <p:tag name="KSO_WM_TEMPLATE_MASTER_TYPE" val="0"/>
  <p:tag name="KSO_WM_TEMPLATE_COLOR_TYPE" val="1"/>
  <p:tag name="KSO_WM_SLIDE_TYPE" val="text"/>
  <p:tag name="KSO_WM_SLIDE_SUBTYPE" val="pureTxt"/>
  <p:tag name="KSO_WM_SLIDE_ITEM_CNT" val="0"/>
  <p:tag name="KSO_WM_SLIDE_INDEX" val="1"/>
  <p:tag name="KSO_WM_TAG_VERSION" val="1.0"/>
  <p:tag name="KSO_WM_BEAUTIFY_FLAG" val="#wm#"/>
  <p:tag name="KSO_WM_TEMPLATE_CATEGORY" val="diagram"/>
  <p:tag name="KSO_WM_TEMPLATE_INDEX" val="20212448"/>
  <p:tag name="KSO_WM_SLIDE_LAYOUT" val="a_f"/>
  <p:tag name="KSO_WM_SLIDE_LAYOUT_CNT" val="1_1"/>
  <p:tag name="KSO_WM_TEMPLATE_THUMBS_INDEX" val="1、4、7、12、13、14、15、16、17、18、20、24、25、28、33、36、40、43、44"/>
  <p:tag name="KSO_WM_SLIDE_LAYOUT_INFO" val="{&quot;backgroundInfo&quot;:[{&quot;bottom&quot;:0,&quot;bottomAbs&quot;:false,&quot;left&quot;:0,&quot;leftAbs&quot;:false,&quot;right&quot;:0,&quot;rightAbs&quot;:false,&quot;top&quot;:0,&quot;topAbs&quot;:false,&quot;type&quot;:&quot;general&quot;}],&quot;direction&quot;:1,&quot;id&quot;:&quot;2021-04-01T15:36:41&quot;,&quot;maxSize&quot;:{&quot;size1&quot;:45},&quot;minSize&quot;:{&quot;size1&quot;:45},&quot;normalSize&quot;:{&quot;size1&quot;:45},&quot;subLayout&quot;:[{&quot;id&quot;:&quot;2021-04-01T15:36:41&quot;,&quot;margin&quot;:{&quot;bottom&quot;:8.467000007629395,&quot;left&quot;:2.9629998207092285,&quot;right&quot;:3.809999942779541,&quot;top&quot;:6.7729997634887695},&quot;type&quot;:0},{&quot;id&quot;:&quot;2021-04-01T15:36:41&quot;,&quot;margin&quot;:{&quot;bottom&quot;:4.657000541687012,&quot;left&quot;:0,&quot;right&quot;:5.079999923706055,&quot;top&quot;:4.657000541687012},&quot;type&quot;:0}],&quot;type&quot;:0}"/>
  <p:tag name="KSO_WM_SLIDE_BACKGROUND" val="[&quot;general&quot;]"/>
  <p:tag name="KSO_WM_SLIDE_RATIO" val="1.777778"/>
  <p:tag name="KSO_WM_CHIP_INFOS" val="{&quot;type&quot;:0,&quot;layout_type&quot;:&quot;leftright&quot;,&quot;layout_feature&quot;:1,&quot;aspect_ratio&quot;:&quot;16:9&quot;,&quot;same_font_size&quot;:false,&quot;diagram&quot;:{&quot;type&quot;:[],&quot;direction&quot;:0,&quot;isSupportDecBetweenItems&quot;:false},&quot;tags&quot;:{&quot;style&quot;:[&quot;商务&quot;,&quot;简约&quot;,&quot;文艺清新&quot;,&quot;中国风&quot;,&quot;卡通&quot;,&quot;欧美风&quot;,&quot;黑板风&quot;,&quot;渐变风&quot;,&quot;党政风&quot;]},&quot;slide_type&quot;:[&quot;text&quot;]}"/>
  <p:tag name="KSO_WM_CHIP_FILLPROP" val="[[{&quot;text_align&quot;:&quot;rm&quot;,&quot;text_direction&quot;:&quot;horizontal&quot;,&quot;support_big_font&quot;:true,&quot;fill_id&quot;:&quot;cb509c17ded54b42a5e9a84a0ad13dd5&quot;,&quot;fill_align&quot;:&quot;rm&quot;,&quot;chip_types&quot;:[&quot;header&quot;]},{&quot;text_align&quot;:&quot;lm&quot;,&quot;text_direction&quot;:&quot;horizontal&quot;,&quot;support_features&quot;:[&quot;collage&quot;,&quot;carousel&quot;],&quot;support_big_font&quot;:true,&quot;fill_id&quot;:&quot;e3486b1120c742108a49a661a8c9d9f1&quot;,&quot;fill_align&quot;:&quot;lm&quot;,&quot;chip_types&quot;:[&quot;text&quot;,&quot;picture&quot;,&quot;chart&quot;,&quot;table&quot;]}]]"/>
  <p:tag name="KSO_WM_SLIDE_SIZE" val="960*540"/>
  <p:tag name="KSO_WM_SLIDE_POSITION" val="0*0"/>
  <p:tag name="KSO_WM_CHIP_XID" val="5f229415dda340fd2c9b5869"/>
  <p:tag name="KSO_WM_CHIP_DECFILLPROP" val="[]"/>
  <p:tag name="KSO_WM_CHIP_GROUPID" val="5f229415dda340fd2c9b5868"/>
  <p:tag name="KSO_WM_SLIDE_BK_DARK_LIGHT" val="2"/>
  <p:tag name="KSO_WM_SLIDE_BACKGROUND_TYPE" val="general"/>
  <p:tag name="KSO_WM_SLIDE_SUPPORT_FEATURE_TYPE" val="0"/>
  <p:tag name="KSO_WM_TEMPLATE_ASSEMBLE_XID" val="60656f444054ed1e2fb8068c"/>
  <p:tag name="KSO_WM_TEMPLATE_ASSEMBLE_GROUPID" val="60656f444054ed1e2fb8068c"/>
</p:tagLst>
</file>

<file path=ppt/tags/tag81.xml><?xml version="1.0" encoding="utf-8"?>
<p:tagLst xmlns:a="http://schemas.openxmlformats.org/drawingml/2006/main" xmlns:r="http://schemas.openxmlformats.org/officeDocument/2006/relationships" xmlns:p="http://schemas.openxmlformats.org/presentationml/2006/main">
  <p:tag name="KSO_WM_UNIT_BLOCK" val="0"/>
  <p:tag name="KSO_WM_UNIT_SM_LIMIT_TYPE" val="2"/>
  <p:tag name="KSO_WM_UNIT_DEC_AREA_ID" val="26a9ccf0e73b4d1f84674de5ed0b5c14"/>
  <p:tag name="KSO_WM_UNIT_HIGHLIGHT" val="0"/>
  <p:tag name="KSO_WM_UNIT_COMPATIBLE" val="0"/>
  <p:tag name="KSO_WM_UNIT_DIAGRAM_ISNUMVISUAL" val="0"/>
  <p:tag name="KSO_WM_UNIT_DIAGRAM_ISREFERUNIT" val="0"/>
  <p:tag name="KSO_WM_UNIT_TYPE" val="i"/>
  <p:tag name="KSO_WM_UNIT_INDEX" val="1"/>
  <p:tag name="KSO_WM_UNIT_ID" val="diagram20212448_1*i*1"/>
  <p:tag name="KSO_WM_TEMPLATE_CATEGORY" val="diagram"/>
  <p:tag name="KSO_WM_TEMPLATE_INDEX" val="20212448"/>
  <p:tag name="KSO_WM_UNIT_LAYERLEVEL" val="1"/>
  <p:tag name="KSO_WM_TAG_VERSION" val="1.0"/>
  <p:tag name="KSO_WM_BEAUTIFY_FLAG" val="#wm#"/>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1}"/>
  <p:tag name="KSO_WM_CHIP_GROUPID" val="5f229415dda340fd2c9b5868"/>
  <p:tag name="KSO_WM_CHIP_XID" val="5f229415dda340fd2c9b5869"/>
  <p:tag name="KSO_WM_UNIT_FILL_FORE_SCHEMECOLOR_INDEX_BRIGHTNESS" val="0"/>
  <p:tag name="KSO_WM_UNIT_FILL_FORE_SCHEMECOLOR_INDEX" val="5"/>
  <p:tag name="KSO_WM_UNIT_FILL_BACK_SCHEMECOLOR_INDEX_BRIGHTNESS" val="0"/>
  <p:tag name="KSO_WM_UNIT_FILL_BACK_SCHEMECOLOR_INDEX" val="14"/>
  <p:tag name="KSO_WM_UNIT_FILL_TYPE" val="2"/>
  <p:tag name="KSO_WM_UNIT_TEXT_FILL_FORE_SCHEMECOLOR_INDEX_BRIGHTNESS" val="0"/>
  <p:tag name="KSO_WM_UNIT_TEXT_FILL_FORE_SCHEMECOLOR_INDEX" val="2"/>
  <p:tag name="KSO_WM_UNIT_TEXT_FILL_TYPE" val="1"/>
  <p:tag name="KSO_WM_UNIT_VALUE" val="1325"/>
  <p:tag name="KSO_WM_TEMPLATE_ASSEMBLE_XID" val="60656f444054ed1e2fb8068c"/>
  <p:tag name="KSO_WM_TEMPLATE_ASSEMBLE_GROUPID" val="60656f444054ed1e2fb8068c"/>
</p:tagLst>
</file>

<file path=ppt/tags/tag82.xml><?xml version="1.0" encoding="utf-8"?>
<p:tagLst xmlns:a="http://schemas.openxmlformats.org/drawingml/2006/main" xmlns:r="http://schemas.openxmlformats.org/officeDocument/2006/relationships" xmlns:p="http://schemas.openxmlformats.org/presentationml/2006/main">
  <p:tag name="KSO_WM_UNIT_BLOCK" val="0"/>
  <p:tag name="KSO_WM_UNIT_SM_LIMIT_TYPE" val="2"/>
  <p:tag name="KSO_WM_UNIT_DEC_AREA_ID" val="7615c596ff1945c3b89be150430fe5cf"/>
  <p:tag name="KSO_WM_UNIT_HIGHLIGHT" val="0"/>
  <p:tag name="KSO_WM_UNIT_COMPATIBLE" val="0"/>
  <p:tag name="KSO_WM_UNIT_DIAGRAM_ISNUMVISUAL" val="0"/>
  <p:tag name="KSO_WM_UNIT_DIAGRAM_ISREFERUNIT" val="0"/>
  <p:tag name="KSO_WM_UNIT_TYPE" val="i"/>
  <p:tag name="KSO_WM_UNIT_INDEX" val="2"/>
  <p:tag name="KSO_WM_UNIT_ID" val="diagram20212448_1*i*2"/>
  <p:tag name="KSO_WM_TEMPLATE_CATEGORY" val="diagram"/>
  <p:tag name="KSO_WM_TEMPLATE_INDEX" val="20212448"/>
  <p:tag name="KSO_WM_UNIT_LAYERLEVEL" val="1"/>
  <p:tag name="KSO_WM_TAG_VERSION" val="1.0"/>
  <p:tag name="KSO_WM_BEAUTIFY_FLAG" val="#wm#"/>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1}"/>
  <p:tag name="KSO_WM_CHIP_GROUPID" val="5f229415dda340fd2c9b5868"/>
  <p:tag name="KSO_WM_CHIP_XID" val="5f229415dda340fd2c9b5869"/>
  <p:tag name="KSO_WM_UNIT_FILL_FORE_SCHEMECOLOR_INDEX_BRIGHTNESS" val="0"/>
  <p:tag name="KSO_WM_UNIT_FILL_FORE_SCHEMECOLOR_INDEX" val="16"/>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 name="KSO_WM_UNIT_VALUE" val="748"/>
  <p:tag name="KSO_WM_TEMPLATE_ASSEMBLE_XID" val="60656f444054ed1e2fb8068c"/>
  <p:tag name="KSO_WM_TEMPLATE_ASSEMBLE_GROUPID" val="60656f444054ed1e2fb8068c"/>
</p:tagLst>
</file>

<file path=ppt/tags/tag83.xml><?xml version="1.0" encoding="utf-8"?>
<p:tagLst xmlns:a="http://schemas.openxmlformats.org/drawingml/2006/main" xmlns:r="http://schemas.openxmlformats.org/officeDocument/2006/relationships" xmlns:p="http://schemas.openxmlformats.org/presentationml/2006/main">
  <p:tag name="KSO_WM_UNIT_BLOCK" val="0"/>
  <p:tag name="KSO_WM_UNIT_SM_LIMIT_TYPE" val="2"/>
  <p:tag name="KSO_WM_UNIT_DEC_AREA_ID" val="b63f246397164817bf41cf6556c15022"/>
  <p:tag name="KSO_WM_UNIT_HIGHLIGHT" val="0"/>
  <p:tag name="KSO_WM_UNIT_COMPATIBLE" val="0"/>
  <p:tag name="KSO_WM_UNIT_DIAGRAM_ISNUMVISUAL" val="0"/>
  <p:tag name="KSO_WM_UNIT_DIAGRAM_ISREFERUNIT" val="0"/>
  <p:tag name="KSO_WM_UNIT_TYPE" val="i"/>
  <p:tag name="KSO_WM_UNIT_INDEX" val="3"/>
  <p:tag name="KSO_WM_UNIT_ID" val="diagram20212448_1*i*3"/>
  <p:tag name="KSO_WM_TEMPLATE_CATEGORY" val="diagram"/>
  <p:tag name="KSO_WM_TEMPLATE_INDEX" val="20212448"/>
  <p:tag name="KSO_WM_UNIT_LAYERLEVEL" val="1"/>
  <p:tag name="KSO_WM_TAG_VERSION" val="1.0"/>
  <p:tag name="KSO_WM_BEAUTIFY_FLAG" val="#wm#"/>
  <p:tag name="KSO_WM_UNIT_DECORATE_INFO" val="{&quot;DecorateInfoH&quot;:{&quot;IsAbs&quot;:true},&quot;DecorateInfoW&quot;:{&quot;IsAbs&quot;:true},&quot;DecorateInfoX&quot;:{&quot;IsAbs&quot;:true,&quot;Pos&quot;:2},&quot;DecorateInfoY&quot;:{&quot;IsAbs&quot;:true,&quot;Pos&quot;:2},&quot;ReferentInfo&quot;:{&quot;Id&quot;:&quot;03a9f8db1f9a459bbda07269ee35e8d7&quot;,&quot;X&quot;:{&quot;Pos&quot;:2},&quot;Y&quot;:{&quot;Pos&quot;:2}},&quot;whChangeMode&quot;:0}"/>
  <p:tag name="KSO_WM_CHIP_GROUPID" val="5f229415dda340fd2c9b5868"/>
  <p:tag name="KSO_WM_CHIP_XID" val="5f229415dda340fd2c9b5869"/>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 name="KSO_WM_UNIT_VALUE" val="95"/>
  <p:tag name="KSO_WM_TEMPLATE_ASSEMBLE_XID" val="60656f444054ed1e2fb8068c"/>
  <p:tag name="KSO_WM_TEMPLATE_ASSEMBLE_GROUPID" val="60656f444054ed1e2fb8068c"/>
</p:tagLst>
</file>

<file path=ppt/tags/tag84.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6"/>
  <p:tag name="KSO_WM_UNIT_HIGHLIGHT" val="0"/>
  <p:tag name="KSO_WM_UNIT_COMPATIBLE" val="0"/>
  <p:tag name="KSO_WM_UNIT_DIAGRAM_ISNUMVISUAL" val="0"/>
  <p:tag name="KSO_WM_UNIT_DIAGRAM_ISREFERUNIT" val="0"/>
  <p:tag name="KSO_WM_UNIT_TYPE" val="a"/>
  <p:tag name="KSO_WM_UNIT_INDEX" val="1"/>
  <p:tag name="KSO_WM_UNIT_ID" val="diagram20212448_1*a*1"/>
  <p:tag name="KSO_WM_TEMPLATE_CATEGORY" val="diagram"/>
  <p:tag name="KSO_WM_TEMPLATE_INDEX" val="20212448"/>
  <p:tag name="KSO_WM_UNIT_LAYERLEVEL" val="1"/>
  <p:tag name="KSO_WM_TAG_VERSION" val="1.0"/>
  <p:tag name="KSO_WM_BEAUTIFY_FLAG" val="#wm#"/>
  <p:tag name="KSO_WM_UNIT_PRESET_TEXT" val="标题"/>
  <p:tag name="KSO_WM_UNIT_DEFAULT_FONT" val="24;44;4"/>
  <p:tag name="KSO_WM_UNIT_BLOCK" val="0"/>
  <p:tag name="KSO_WM_UNIT_SHOW_EDIT_AREA_INDICATION" val="1"/>
  <p:tag name="KSO_WM_CHIP_GROUPID" val="5e7881253197e252a37019b5"/>
  <p:tag name="KSO_WM_CHIP_XID" val="5e7881253197e252a37019b6"/>
  <p:tag name="KSO_WM_UNIT_DEC_AREA_ID" val="03a9f8db1f9a459bbda07269ee35e8d7"/>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rm&quot;,&quot;fill_mode&quot;:&quot;full&quot;,&quot;sacle_strategy&quot;:&quot;smart&quot;}"/>
  <p:tag name="KSO_WM_ASSEMBLE_CHIP_INDEX" val="68a4e95e952f41c8a5d9e00167f3460a"/>
  <p:tag name="KSO_WM_UNIT_SUPPORT_BIG_FONT" val="1"/>
  <p:tag name="KSO_WM_UNIT_TEXT_FILL_FORE_SCHEMECOLOR_INDEX_BRIGHTNESS" val="0"/>
  <p:tag name="KSO_WM_UNIT_TEXT_FILL_FORE_SCHEMECOLOR_INDEX" val="13"/>
  <p:tag name="KSO_WM_UNIT_TEXT_FILL_TYPE" val="1"/>
  <p:tag name="KSO_WM_TEMPLATE_ASSEMBLE_XID" val="60656f444054ed1e2fb8068c"/>
  <p:tag name="KSO_WM_TEMPLATE_ASSEMBLE_GROUPID" val="60656f444054ed1e2fb8068c"/>
</p:tagLst>
</file>

<file path=ppt/tags/tag85.xml><?xml version="1.0" encoding="utf-8"?>
<p:tagLst xmlns:a="http://schemas.openxmlformats.org/drawingml/2006/main" xmlns:r="http://schemas.openxmlformats.org/officeDocument/2006/relationships" xmlns:p="http://schemas.openxmlformats.org/presentationml/2006/main">
  <p:tag name="KSO_WM_UNIT_TEXT_SUBTYPE" val="a"/>
  <p:tag name="KSO_WM_UNIT_SUBTYPE" val="a"/>
  <p:tag name="KSO_WM_UNIT_PRESET_TEXT" val="单击此处添加正文，文字是您思想的提炼，为了演示发布的良好效果，请言简意赅的阐述您的观点。您的内容已经简明扼要，字字珠玑，但信息却千丝万缕、错综复杂。"/>
  <p:tag name="KSO_WM_UNIT_NOCLEAR" val="0"/>
  <p:tag name="KSO_WM_UNIT_HIGHLIGHT" val="0"/>
  <p:tag name="KSO_WM_UNIT_COMPATIBLE" val="0"/>
  <p:tag name="KSO_WM_UNIT_DIAGRAM_ISNUMVISUAL" val="0"/>
  <p:tag name="KSO_WM_UNIT_DIAGRAM_ISREFERUNIT" val="0"/>
  <p:tag name="KSO_WM_UNIT_TYPE" val="f"/>
  <p:tag name="KSO_WM_UNIT_INDEX" val="1"/>
  <p:tag name="KSO_WM_UNIT_ID" val="diagram20212448_1*f*1"/>
  <p:tag name="KSO_WM_TEMPLATE_CATEGORY" val="diagram"/>
  <p:tag name="KSO_WM_TEMPLATE_INDEX" val="20212448"/>
  <p:tag name="KSO_WM_UNIT_LAYERLEVEL" val="1"/>
  <p:tag name="KSO_WM_TAG_VERSION" val="1.0"/>
  <p:tag name="KSO_WM_BEAUTIFY_FLAG" val="#wm#"/>
  <p:tag name="KSO_WM_UNIT_DEFAULT_FONT" val="14;20;2"/>
  <p:tag name="KSO_WM_UNIT_BLOCK" val="0"/>
  <p:tag name="KSO_WM_UNIT_VALUE" val="85"/>
  <p:tag name="KSO_WM_UNIT_SHOW_EDIT_AREA_INDICATION" val="1"/>
  <p:tag name="KSO_WM_CHIP_GROUPID" val="5e6b05596848fb12bee65ac8"/>
  <p:tag name="KSO_WM_CHIP_XID" val="5e6b05596848fb12bee65aca"/>
  <p:tag name="KSO_WM_UNIT_DEC_AREA_ID" val="79ca83d956ce4dbeb1142a3a68e34555"/>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m&quot;,&quot;fill_mode&quot;:&quot;full&quot;,&quot;sacle_strategy&quot;:&quot;smart&quot;}"/>
  <p:tag name="KSO_WM_ASSEMBLE_CHIP_INDEX" val="bbf2f0fb6a9f465ca8c8f67f6ab8b409"/>
  <p:tag name="KSO_WM_UNIT_SUPPORT_BIG_FONT" val="1"/>
  <p:tag name="KSO_WM_UNIT_SUPPORT_UNIT_TYPE" val="[&quot;d&quot;,&quot;α&quot;,&quot;β&quot;]"/>
  <p:tag name="KSO_WM_UNIT_TEXT_FILL_FORE_SCHEMECOLOR_INDEX_BRIGHTNESS" val="0.25"/>
  <p:tag name="KSO_WM_UNIT_TEXT_FILL_FORE_SCHEMECOLOR_INDEX" val="13"/>
  <p:tag name="KSO_WM_UNIT_TEXT_FILL_TYPE" val="1"/>
  <p:tag name="KSO_WM_TEMPLATE_ASSEMBLE_XID" val="60656f444054ed1e2fb8068c"/>
  <p:tag name="KSO_WM_TEMPLATE_ASSEMBLE_GROUPID" val="60656f444054ed1e2fb8068c"/>
</p:tagLst>
</file>

<file path=ppt/tags/tag86.xml><?xml version="1.0" encoding="utf-8"?>
<p:tagLst xmlns:a="http://schemas.openxmlformats.org/drawingml/2006/main" xmlns:r="http://schemas.openxmlformats.org/officeDocument/2006/relationships" xmlns:p="http://schemas.openxmlformats.org/presentationml/2006/main">
  <p:tag name="ISLIDE.THEME" val="https://www.islide.cc;"/>
  <p:tag name="KSO_WM_SLIDE_ID" val="diagram20212448_1"/>
  <p:tag name="KSO_WM_TEMPLATE_SUBCATEGORY" val="21"/>
  <p:tag name="KSO_WM_TEMPLATE_MASTER_TYPE" val="0"/>
  <p:tag name="KSO_WM_TEMPLATE_COLOR_TYPE" val="1"/>
  <p:tag name="KSO_WM_SLIDE_TYPE" val="text"/>
  <p:tag name="KSO_WM_SLIDE_SUBTYPE" val="pureTxt"/>
  <p:tag name="KSO_WM_SLIDE_ITEM_CNT" val="0"/>
  <p:tag name="KSO_WM_SLIDE_INDEX" val="1"/>
  <p:tag name="KSO_WM_TAG_VERSION" val="1.0"/>
  <p:tag name="KSO_WM_BEAUTIFY_FLAG" val="#wm#"/>
  <p:tag name="KSO_WM_TEMPLATE_CATEGORY" val="diagram"/>
  <p:tag name="KSO_WM_TEMPLATE_INDEX" val="20212448"/>
  <p:tag name="KSO_WM_SLIDE_LAYOUT" val="a_f"/>
  <p:tag name="KSO_WM_SLIDE_LAYOUT_CNT" val="1_1"/>
  <p:tag name="KSO_WM_TEMPLATE_THUMBS_INDEX" val="1、4、7、12、13、14、15、16、17、18、20、24、25、28、33、36、40、43、44"/>
  <p:tag name="KSO_WM_SLIDE_LAYOUT_INFO" val="{&quot;backgroundInfo&quot;:[{&quot;bottom&quot;:0,&quot;bottomAbs&quot;:false,&quot;left&quot;:0,&quot;leftAbs&quot;:false,&quot;right&quot;:0,&quot;rightAbs&quot;:false,&quot;top&quot;:0,&quot;topAbs&quot;:false,&quot;type&quot;:&quot;general&quot;}],&quot;direction&quot;:1,&quot;id&quot;:&quot;2021-04-01T15:36:41&quot;,&quot;maxSize&quot;:{&quot;size1&quot;:45},&quot;minSize&quot;:{&quot;size1&quot;:45},&quot;normalSize&quot;:{&quot;size1&quot;:45},&quot;subLayout&quot;:[{&quot;id&quot;:&quot;2021-04-01T15:36:41&quot;,&quot;margin&quot;:{&quot;bottom&quot;:8.467000007629395,&quot;left&quot;:2.9629998207092285,&quot;right&quot;:3.809999942779541,&quot;top&quot;:6.7729997634887695},&quot;type&quot;:0},{&quot;id&quot;:&quot;2021-04-01T15:36:41&quot;,&quot;margin&quot;:{&quot;bottom&quot;:4.657000541687012,&quot;left&quot;:0,&quot;right&quot;:5.079999923706055,&quot;top&quot;:4.657000541687012},&quot;type&quot;:0}],&quot;type&quot;:0}"/>
  <p:tag name="KSO_WM_SLIDE_BACKGROUND" val="[&quot;general&quot;]"/>
  <p:tag name="KSO_WM_SLIDE_RATIO" val="1.777778"/>
  <p:tag name="KSO_WM_CHIP_INFOS" val="{&quot;type&quot;:0,&quot;layout_type&quot;:&quot;leftright&quot;,&quot;layout_feature&quot;:1,&quot;aspect_ratio&quot;:&quot;16:9&quot;,&quot;same_font_size&quot;:false,&quot;diagram&quot;:{&quot;type&quot;:[],&quot;direction&quot;:0,&quot;isSupportDecBetweenItems&quot;:false},&quot;tags&quot;:{&quot;style&quot;:[&quot;商务&quot;,&quot;简约&quot;,&quot;文艺清新&quot;,&quot;中国风&quot;,&quot;卡通&quot;,&quot;欧美风&quot;,&quot;黑板风&quot;,&quot;渐变风&quot;,&quot;党政风&quot;]},&quot;slide_type&quot;:[&quot;text&quot;]}"/>
  <p:tag name="KSO_WM_CHIP_FILLPROP" val="[[{&quot;text_align&quot;:&quot;rm&quot;,&quot;text_direction&quot;:&quot;horizontal&quot;,&quot;support_big_font&quot;:true,&quot;fill_id&quot;:&quot;cb509c17ded54b42a5e9a84a0ad13dd5&quot;,&quot;fill_align&quot;:&quot;rm&quot;,&quot;chip_types&quot;:[&quot;header&quot;]},{&quot;text_align&quot;:&quot;lm&quot;,&quot;text_direction&quot;:&quot;horizontal&quot;,&quot;support_features&quot;:[&quot;collage&quot;,&quot;carousel&quot;],&quot;support_big_font&quot;:true,&quot;fill_id&quot;:&quot;e3486b1120c742108a49a661a8c9d9f1&quot;,&quot;fill_align&quot;:&quot;lm&quot;,&quot;chip_types&quot;:[&quot;text&quot;,&quot;picture&quot;,&quot;chart&quot;,&quot;table&quot;]}]]"/>
  <p:tag name="KSO_WM_SLIDE_SIZE" val="960*540"/>
  <p:tag name="KSO_WM_SLIDE_POSITION" val="0*0"/>
  <p:tag name="KSO_WM_CHIP_XID" val="5f229415dda340fd2c9b5869"/>
  <p:tag name="KSO_WM_CHIP_DECFILLPROP" val="[]"/>
  <p:tag name="KSO_WM_CHIP_GROUPID" val="5f229415dda340fd2c9b5868"/>
  <p:tag name="KSO_WM_SLIDE_BK_DARK_LIGHT" val="2"/>
  <p:tag name="KSO_WM_SLIDE_BACKGROUND_TYPE" val="general"/>
  <p:tag name="KSO_WM_SLIDE_SUPPORT_FEATURE_TYPE" val="0"/>
  <p:tag name="KSO_WM_TEMPLATE_ASSEMBLE_XID" val="60656f444054ed1e2fb8068c"/>
  <p:tag name="KSO_WM_TEMPLATE_ASSEMBLE_GROUPID" val="60656f444054ed1e2fb8068c"/>
</p:tagLst>
</file>

<file path=ppt/tags/tag87.xml><?xml version="1.0" encoding="utf-8"?>
<p:tagLst xmlns:a="http://schemas.openxmlformats.org/drawingml/2006/main" xmlns:r="http://schemas.openxmlformats.org/officeDocument/2006/relationships" xmlns:p="http://schemas.openxmlformats.org/presentationml/2006/main">
  <p:tag name="KSO_WM_UNIT_BLOCK" val="0"/>
  <p:tag name="KSO_WM_UNIT_SM_LIMIT_TYPE" val="2"/>
  <p:tag name="KSO_WM_UNIT_DEC_AREA_ID" val="26a9ccf0e73b4d1f84674de5ed0b5c14"/>
  <p:tag name="KSO_WM_UNIT_HIGHLIGHT" val="0"/>
  <p:tag name="KSO_WM_UNIT_COMPATIBLE" val="0"/>
  <p:tag name="KSO_WM_UNIT_DIAGRAM_ISNUMVISUAL" val="0"/>
  <p:tag name="KSO_WM_UNIT_DIAGRAM_ISREFERUNIT" val="0"/>
  <p:tag name="KSO_WM_UNIT_TYPE" val="i"/>
  <p:tag name="KSO_WM_UNIT_INDEX" val="1"/>
  <p:tag name="KSO_WM_UNIT_ID" val="diagram20212448_1*i*1"/>
  <p:tag name="KSO_WM_TEMPLATE_CATEGORY" val="diagram"/>
  <p:tag name="KSO_WM_TEMPLATE_INDEX" val="20212448"/>
  <p:tag name="KSO_WM_UNIT_LAYERLEVEL" val="1"/>
  <p:tag name="KSO_WM_TAG_VERSION" val="1.0"/>
  <p:tag name="KSO_WM_BEAUTIFY_FLAG" val="#wm#"/>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1}"/>
  <p:tag name="KSO_WM_CHIP_GROUPID" val="5f229415dda340fd2c9b5868"/>
  <p:tag name="KSO_WM_CHIP_XID" val="5f229415dda340fd2c9b5869"/>
  <p:tag name="KSO_WM_UNIT_FILL_FORE_SCHEMECOLOR_INDEX_BRIGHTNESS" val="0"/>
  <p:tag name="KSO_WM_UNIT_FILL_FORE_SCHEMECOLOR_INDEX" val="5"/>
  <p:tag name="KSO_WM_UNIT_FILL_BACK_SCHEMECOLOR_INDEX_BRIGHTNESS" val="0"/>
  <p:tag name="KSO_WM_UNIT_FILL_BACK_SCHEMECOLOR_INDEX" val="14"/>
  <p:tag name="KSO_WM_UNIT_FILL_TYPE" val="2"/>
  <p:tag name="KSO_WM_UNIT_TEXT_FILL_FORE_SCHEMECOLOR_INDEX_BRIGHTNESS" val="0"/>
  <p:tag name="KSO_WM_UNIT_TEXT_FILL_FORE_SCHEMECOLOR_INDEX" val="2"/>
  <p:tag name="KSO_WM_UNIT_TEXT_FILL_TYPE" val="1"/>
  <p:tag name="KSO_WM_UNIT_VALUE" val="1325"/>
  <p:tag name="KSO_WM_TEMPLATE_ASSEMBLE_XID" val="60656f444054ed1e2fb8068c"/>
  <p:tag name="KSO_WM_TEMPLATE_ASSEMBLE_GROUPID" val="60656f444054ed1e2fb8068c"/>
</p:tagLst>
</file>

<file path=ppt/tags/tag88.xml><?xml version="1.0" encoding="utf-8"?>
<p:tagLst xmlns:a="http://schemas.openxmlformats.org/drawingml/2006/main" xmlns:r="http://schemas.openxmlformats.org/officeDocument/2006/relationships" xmlns:p="http://schemas.openxmlformats.org/presentationml/2006/main">
  <p:tag name="KSO_WM_UNIT_BLOCK" val="0"/>
  <p:tag name="KSO_WM_UNIT_SM_LIMIT_TYPE" val="2"/>
  <p:tag name="KSO_WM_UNIT_DEC_AREA_ID" val="7615c596ff1945c3b89be150430fe5cf"/>
  <p:tag name="KSO_WM_UNIT_HIGHLIGHT" val="0"/>
  <p:tag name="KSO_WM_UNIT_COMPATIBLE" val="0"/>
  <p:tag name="KSO_WM_UNIT_DIAGRAM_ISNUMVISUAL" val="0"/>
  <p:tag name="KSO_WM_UNIT_DIAGRAM_ISREFERUNIT" val="0"/>
  <p:tag name="KSO_WM_UNIT_TYPE" val="i"/>
  <p:tag name="KSO_WM_UNIT_INDEX" val="2"/>
  <p:tag name="KSO_WM_UNIT_ID" val="diagram20212448_1*i*2"/>
  <p:tag name="KSO_WM_TEMPLATE_CATEGORY" val="diagram"/>
  <p:tag name="KSO_WM_TEMPLATE_INDEX" val="20212448"/>
  <p:tag name="KSO_WM_UNIT_LAYERLEVEL" val="1"/>
  <p:tag name="KSO_WM_TAG_VERSION" val="1.0"/>
  <p:tag name="KSO_WM_BEAUTIFY_FLAG" val="#wm#"/>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1}"/>
  <p:tag name="KSO_WM_CHIP_GROUPID" val="5f229415dda340fd2c9b5868"/>
  <p:tag name="KSO_WM_CHIP_XID" val="5f229415dda340fd2c9b5869"/>
  <p:tag name="KSO_WM_UNIT_FILL_FORE_SCHEMECOLOR_INDEX_BRIGHTNESS" val="0"/>
  <p:tag name="KSO_WM_UNIT_FILL_FORE_SCHEMECOLOR_INDEX" val="16"/>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 name="KSO_WM_UNIT_VALUE" val="748"/>
  <p:tag name="KSO_WM_TEMPLATE_ASSEMBLE_XID" val="60656f444054ed1e2fb8068c"/>
  <p:tag name="KSO_WM_TEMPLATE_ASSEMBLE_GROUPID" val="60656f444054ed1e2fb8068c"/>
</p:tagLst>
</file>

<file path=ppt/tags/tag89.xml><?xml version="1.0" encoding="utf-8"?>
<p:tagLst xmlns:a="http://schemas.openxmlformats.org/drawingml/2006/main" xmlns:r="http://schemas.openxmlformats.org/officeDocument/2006/relationships" xmlns:p="http://schemas.openxmlformats.org/presentationml/2006/main">
  <p:tag name="KSO_WM_UNIT_BLOCK" val="0"/>
  <p:tag name="KSO_WM_UNIT_SM_LIMIT_TYPE" val="2"/>
  <p:tag name="KSO_WM_UNIT_DEC_AREA_ID" val="b63f246397164817bf41cf6556c15022"/>
  <p:tag name="KSO_WM_UNIT_HIGHLIGHT" val="0"/>
  <p:tag name="KSO_WM_UNIT_COMPATIBLE" val="0"/>
  <p:tag name="KSO_WM_UNIT_DIAGRAM_ISNUMVISUAL" val="0"/>
  <p:tag name="KSO_WM_UNIT_DIAGRAM_ISREFERUNIT" val="0"/>
  <p:tag name="KSO_WM_UNIT_TYPE" val="i"/>
  <p:tag name="KSO_WM_UNIT_INDEX" val="3"/>
  <p:tag name="KSO_WM_UNIT_ID" val="diagram20212448_1*i*3"/>
  <p:tag name="KSO_WM_TEMPLATE_CATEGORY" val="diagram"/>
  <p:tag name="KSO_WM_TEMPLATE_INDEX" val="20212448"/>
  <p:tag name="KSO_WM_UNIT_LAYERLEVEL" val="1"/>
  <p:tag name="KSO_WM_TAG_VERSION" val="1.0"/>
  <p:tag name="KSO_WM_BEAUTIFY_FLAG" val="#wm#"/>
  <p:tag name="KSO_WM_UNIT_DECORATE_INFO" val="{&quot;DecorateInfoH&quot;:{&quot;IsAbs&quot;:true},&quot;DecorateInfoW&quot;:{&quot;IsAbs&quot;:true},&quot;DecorateInfoX&quot;:{&quot;IsAbs&quot;:true,&quot;Pos&quot;:2},&quot;DecorateInfoY&quot;:{&quot;IsAbs&quot;:true,&quot;Pos&quot;:2},&quot;ReferentInfo&quot;:{&quot;Id&quot;:&quot;03a9f8db1f9a459bbda07269ee35e8d7&quot;,&quot;X&quot;:{&quot;Pos&quot;:2},&quot;Y&quot;:{&quot;Pos&quot;:2}},&quot;whChangeMode&quot;:0}"/>
  <p:tag name="KSO_WM_CHIP_GROUPID" val="5f229415dda340fd2c9b5868"/>
  <p:tag name="KSO_WM_CHIP_XID" val="5f229415dda340fd2c9b5869"/>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 name="KSO_WM_UNIT_VALUE" val="95"/>
  <p:tag name="KSO_WM_TEMPLATE_ASSEMBLE_XID" val="60656f444054ed1e2fb8068c"/>
  <p:tag name="KSO_WM_TEMPLATE_ASSEMBLE_GROUPID" val="60656f444054ed1e2fb8068c"/>
</p:tagLst>
</file>

<file path=ppt/tags/tag9.xml><?xml version="1.0" encoding="utf-8"?>
<p:tagLst xmlns:a="http://schemas.openxmlformats.org/drawingml/2006/main" xmlns:r="http://schemas.openxmlformats.org/officeDocument/2006/relationships" xmlns:p="http://schemas.openxmlformats.org/presentationml/2006/main">
  <p:tag name="KSO_WM_UNIT_SUBTYPE" val="a"/>
  <p:tag name="KSO_WM_UNIT_PRESET_TEXT" val="单击此处添加正文内容"/>
  <p:tag name="KSO_WM_UNIT_NOCLEAR" val="0"/>
  <p:tag name="KSO_WM_UNIT_HIGHLIGHT" val="0"/>
  <p:tag name="KSO_WM_UNIT_COMPATIBLE" val="0"/>
  <p:tag name="KSO_WM_UNIT_DIAGRAM_ISNUMVISUAL" val="0"/>
  <p:tag name="KSO_WM_UNIT_DIAGRAM_ISREFERUNIT" val="0"/>
  <p:tag name="KSO_WM_DIAGRAM_GROUP_CODE" val="l1-1"/>
  <p:tag name="KSO_WM_UNIT_TYPE" val="l_h_f"/>
  <p:tag name="KSO_WM_UNIT_INDEX" val="1_3_1"/>
  <p:tag name="KSO_WM_UNIT_ID" val="diagram20218393_5*l_h_f*1_3_1"/>
  <p:tag name="KSO_WM_TEMPLATE_CATEGORY" val="diagram"/>
  <p:tag name="KSO_WM_TEMPLATE_INDEX" val="20218393"/>
  <p:tag name="KSO_WM_UNIT_LAYERLEVEL" val="1_1_1"/>
  <p:tag name="KSO_WM_TAG_VERSION" val="1.0"/>
  <p:tag name="KSO_WM_BEAUTIFY_FLAG" val="#wm#"/>
  <p:tag name="KSO_WM_UNIT_TEXT_FILL_FORE_SCHEMECOLOR_INDEX_BRIGHTNESS" val="0.25"/>
  <p:tag name="KSO_WM_UNIT_TEXT_FILL_FORE_SCHEMECOLOR_INDEX" val="13"/>
  <p:tag name="KSO_WM_UNIT_TEXT_FILL_TYPE" val="1"/>
  <p:tag name="KSO_WM_UNIT_USESOURCEFORMAT_APPLY" val="1"/>
</p:tagLst>
</file>

<file path=ppt/tags/tag90.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6"/>
  <p:tag name="KSO_WM_UNIT_HIGHLIGHT" val="0"/>
  <p:tag name="KSO_WM_UNIT_COMPATIBLE" val="0"/>
  <p:tag name="KSO_WM_UNIT_DIAGRAM_ISNUMVISUAL" val="0"/>
  <p:tag name="KSO_WM_UNIT_DIAGRAM_ISREFERUNIT" val="0"/>
  <p:tag name="KSO_WM_UNIT_TYPE" val="a"/>
  <p:tag name="KSO_WM_UNIT_INDEX" val="1"/>
  <p:tag name="KSO_WM_UNIT_ID" val="diagram20212448_1*a*1"/>
  <p:tag name="KSO_WM_TEMPLATE_CATEGORY" val="diagram"/>
  <p:tag name="KSO_WM_TEMPLATE_INDEX" val="20212448"/>
  <p:tag name="KSO_WM_UNIT_LAYERLEVEL" val="1"/>
  <p:tag name="KSO_WM_TAG_VERSION" val="1.0"/>
  <p:tag name="KSO_WM_BEAUTIFY_FLAG" val="#wm#"/>
  <p:tag name="KSO_WM_UNIT_PRESET_TEXT" val="标题"/>
  <p:tag name="KSO_WM_UNIT_DEFAULT_FONT" val="24;44;4"/>
  <p:tag name="KSO_WM_UNIT_BLOCK" val="0"/>
  <p:tag name="KSO_WM_UNIT_SHOW_EDIT_AREA_INDICATION" val="1"/>
  <p:tag name="KSO_WM_CHIP_GROUPID" val="5e7881253197e252a37019b5"/>
  <p:tag name="KSO_WM_CHIP_XID" val="5e7881253197e252a37019b6"/>
  <p:tag name="KSO_WM_UNIT_DEC_AREA_ID" val="03a9f8db1f9a459bbda07269ee35e8d7"/>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rm&quot;,&quot;fill_mode&quot;:&quot;full&quot;,&quot;sacle_strategy&quot;:&quot;smart&quot;}"/>
  <p:tag name="KSO_WM_ASSEMBLE_CHIP_INDEX" val="68a4e95e952f41c8a5d9e00167f3460a"/>
  <p:tag name="KSO_WM_UNIT_SUPPORT_BIG_FONT" val="1"/>
  <p:tag name="KSO_WM_UNIT_TEXT_FILL_FORE_SCHEMECOLOR_INDEX_BRIGHTNESS" val="0"/>
  <p:tag name="KSO_WM_UNIT_TEXT_FILL_FORE_SCHEMECOLOR_INDEX" val="13"/>
  <p:tag name="KSO_WM_UNIT_TEXT_FILL_TYPE" val="1"/>
  <p:tag name="KSO_WM_TEMPLATE_ASSEMBLE_XID" val="60656f444054ed1e2fb8068c"/>
  <p:tag name="KSO_WM_TEMPLATE_ASSEMBLE_GROUPID" val="60656f444054ed1e2fb8068c"/>
</p:tagLst>
</file>

<file path=ppt/tags/tag91.xml><?xml version="1.0" encoding="utf-8"?>
<p:tagLst xmlns:a="http://schemas.openxmlformats.org/drawingml/2006/main" xmlns:r="http://schemas.openxmlformats.org/officeDocument/2006/relationships" xmlns:p="http://schemas.openxmlformats.org/presentationml/2006/main">
  <p:tag name="KSO_WM_UNIT_TEXT_SUBTYPE" val="a"/>
  <p:tag name="KSO_WM_UNIT_SUBTYPE" val="a"/>
  <p:tag name="KSO_WM_UNIT_PRESET_TEXT" val="单击此处添加正文，文字是您思想的提炼，为了演示发布的良好效果，请言简意赅的阐述您的观点。您的内容已经简明扼要，字字珠玑，但信息却千丝万缕、错综复杂。"/>
  <p:tag name="KSO_WM_UNIT_NOCLEAR" val="0"/>
  <p:tag name="KSO_WM_UNIT_HIGHLIGHT" val="0"/>
  <p:tag name="KSO_WM_UNIT_COMPATIBLE" val="0"/>
  <p:tag name="KSO_WM_UNIT_DIAGRAM_ISNUMVISUAL" val="0"/>
  <p:tag name="KSO_WM_UNIT_DIAGRAM_ISREFERUNIT" val="0"/>
  <p:tag name="KSO_WM_UNIT_TYPE" val="f"/>
  <p:tag name="KSO_WM_UNIT_INDEX" val="1"/>
  <p:tag name="KSO_WM_UNIT_ID" val="diagram20212448_1*f*1"/>
  <p:tag name="KSO_WM_TEMPLATE_CATEGORY" val="diagram"/>
  <p:tag name="KSO_WM_TEMPLATE_INDEX" val="20212448"/>
  <p:tag name="KSO_WM_UNIT_LAYERLEVEL" val="1"/>
  <p:tag name="KSO_WM_TAG_VERSION" val="1.0"/>
  <p:tag name="KSO_WM_BEAUTIFY_FLAG" val="#wm#"/>
  <p:tag name="KSO_WM_UNIT_DEFAULT_FONT" val="14;20;2"/>
  <p:tag name="KSO_WM_UNIT_BLOCK" val="0"/>
  <p:tag name="KSO_WM_UNIT_VALUE" val="85"/>
  <p:tag name="KSO_WM_UNIT_SHOW_EDIT_AREA_INDICATION" val="1"/>
  <p:tag name="KSO_WM_CHIP_GROUPID" val="5e6b05596848fb12bee65ac8"/>
  <p:tag name="KSO_WM_CHIP_XID" val="5e6b05596848fb12bee65aca"/>
  <p:tag name="KSO_WM_UNIT_DEC_AREA_ID" val="79ca83d956ce4dbeb1142a3a68e34555"/>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m&quot;,&quot;fill_mode&quot;:&quot;full&quot;,&quot;sacle_strategy&quot;:&quot;smart&quot;}"/>
  <p:tag name="KSO_WM_ASSEMBLE_CHIP_INDEX" val="bbf2f0fb6a9f465ca8c8f67f6ab8b409"/>
  <p:tag name="KSO_WM_UNIT_SUPPORT_BIG_FONT" val="1"/>
  <p:tag name="KSO_WM_UNIT_SUPPORT_UNIT_TYPE" val="[&quot;d&quot;,&quot;α&quot;,&quot;β&quot;]"/>
  <p:tag name="KSO_WM_UNIT_TEXT_FILL_FORE_SCHEMECOLOR_INDEX_BRIGHTNESS" val="0.25"/>
  <p:tag name="KSO_WM_UNIT_TEXT_FILL_FORE_SCHEMECOLOR_INDEX" val="13"/>
  <p:tag name="KSO_WM_UNIT_TEXT_FILL_TYPE" val="1"/>
  <p:tag name="KSO_WM_TEMPLATE_ASSEMBLE_XID" val="60656f444054ed1e2fb8068c"/>
  <p:tag name="KSO_WM_TEMPLATE_ASSEMBLE_GROUPID" val="60656f444054ed1e2fb8068c"/>
</p:tagLst>
</file>

<file path=ppt/tags/tag9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4.xml><?xml version="1.0" encoding="utf-8"?>
<p:tagLst xmlns:a="http://schemas.openxmlformats.org/drawingml/2006/main" xmlns:r="http://schemas.openxmlformats.org/officeDocument/2006/relationships" xmlns:p="http://schemas.openxmlformats.org/presentationml/2006/main">
  <p:tag name="KSO_WM_UNIT_TEXTBOXSTYLE_GUID" val="{17d76bcc-9dd8-4943-9bc9-580ab3a5705a}"/>
</p:tagLst>
</file>

<file path=ppt/tags/tag95.xml><?xml version="1.0" encoding="utf-8"?>
<p:tagLst xmlns:a="http://schemas.openxmlformats.org/drawingml/2006/main" xmlns:r="http://schemas.openxmlformats.org/officeDocument/2006/relationships" xmlns:p="http://schemas.openxmlformats.org/presentationml/2006/main">
  <p:tag name="KSO_WM_UNIT_TEXTBOXSTYLE_SHAPETYPE" val="0"/>
  <p:tag name="KSO_WM_UNIT_TEXTBOXSTYLE_TEMPLATETYPE" val="1"/>
  <p:tag name="KSO_WM_UNIT_ISCONTENTSTITLE" val="0"/>
  <p:tag name="KSO_WM_UNIT_PRESET_TEXT" val="单击此处输入正文标题内容"/>
  <p:tag name="KSO_WM_UNIT_NOCLEAR" val="1"/>
  <p:tag name="KSO_WM_UNIT_VALUE" val="33"/>
  <p:tag name="KSO_WM_UNIT_HIGHLIGHT" val="0"/>
  <p:tag name="KSO_WM_UNIT_COMPATIBLE" val="0"/>
  <p:tag name="KSO_WM_UNIT_DIAGRAM_ISNUMVISUAL" val="0"/>
  <p:tag name="KSO_WM_UNIT_DIAGRAM_ISREFERUNIT" val="0"/>
  <p:tag name="KSO_WM_UNIT_TYPE" val="a"/>
  <p:tag name="KSO_WM_UNIT_INDEX" val="1"/>
  <p:tag name="KSO_WM_UNIT_ID" val="mixed20201883_94*a*1"/>
  <p:tag name="KSO_WM_TEMPLATE_CATEGORY" val="mixed"/>
  <p:tag name="KSO_WM_TEMPLATE_INDEX" val="20201883"/>
  <p:tag name="KSO_WM_UNIT_LAYERLEVEL" val="1"/>
  <p:tag name="KSO_WM_TAG_VERSION" val="1.0"/>
  <p:tag name="KSO_WM_BEAUTIFY_FLAG" val="#wm#"/>
  <p:tag name="KSO_WM_UNIT_TEXTBOXSTYLE_GUID" val="{17d76bcc-9dd8-4943-9bc9-580ab3a5705a}"/>
  <p:tag name="KSO_WM_UNIT_TEXTBOXSTYLE_TYPE" val="3"/>
  <p:tag name="KSO_WM_UNIT_TEXT_FILL_FORE_SCHEMECOLOR_INDEX_BRIGHTNESS" val="0.25"/>
  <p:tag name="KSO_WM_UNIT_TEXT_FILL_FORE_SCHEMECOLOR_INDEX" val="13"/>
  <p:tag name="KSO_WM_UNIT_TEXT_FILL_TYPE" val="1"/>
</p:tagLst>
</file>

<file path=ppt/tags/tag96.xml><?xml version="1.0" encoding="utf-8"?>
<p:tagLst xmlns:a="http://schemas.openxmlformats.org/drawingml/2006/main" xmlns:r="http://schemas.openxmlformats.org/officeDocument/2006/relationships" xmlns:p="http://schemas.openxmlformats.org/presentationml/2006/main">
  <p:tag name="KSO_WM_UNIT_TEXTBOXSTYLE_SHAPETYPE" val="1"/>
  <p:tag name="KSO_WM_UNIT_TEXTBOXSTYLE_ADJUSTLEFT" val="0_-0.003387451"/>
  <p:tag name="KSO_WM_UNIT_TEXTBOXSTYLE_ADJUSTTOP" val="100_8.900005"/>
  <p:tag name="KSO_WM_UNIT_TEXTBOXSTYLE_ADJUSTWIDTH" val="102.7783_0"/>
  <p:tag name="KSO_WM_UNIT_HIGHLIGHT" val="0"/>
  <p:tag name="KSO_WM_UNIT_COMPATIBLE" val="0"/>
  <p:tag name="KSO_WM_UNIT_DIAGRAM_ISNUMVISUAL" val="0"/>
  <p:tag name="KSO_WM_UNIT_DIAGRAM_ISREFERUNIT" val="0"/>
  <p:tag name="KSO_WM_UNIT_TYPE" val="i"/>
  <p:tag name="KSO_WM_UNIT_INDEX" val="1"/>
  <p:tag name="KSO_WM_UNIT_ID" val="mixed20201883_94*i*1"/>
  <p:tag name="KSO_WM_TEMPLATE_CATEGORY" val="mixed"/>
  <p:tag name="KSO_WM_TEMPLATE_INDEX" val="20201883"/>
  <p:tag name="KSO_WM_UNIT_LAYERLEVEL" val="1"/>
  <p:tag name="KSO_WM_TAG_VERSION" val="1.0"/>
  <p:tag name="KSO_WM_BEAUTIFY_FLAG" val="#wm#"/>
  <p:tag name="KSO_WM_UNIT_TEXTBOXSTYLE_GUID" val="{17d76bcc-9dd8-4943-9bc9-580ab3a5705a}"/>
  <p:tag name="KSO_WM_UNIT_FILL_FORE_SCHEMECOLOR_INDEX_BRIGHTNESS" val="0.6"/>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97.xml><?xml version="1.0" encoding="utf-8"?>
<p:tagLst xmlns:a="http://schemas.openxmlformats.org/drawingml/2006/main" xmlns:r="http://schemas.openxmlformats.org/officeDocument/2006/relationships" xmlns:p="http://schemas.openxmlformats.org/presentationml/2006/main">
  <p:tag name="KSO_WM_UNIT_TEXTBOXSTYLE_SHAPETYPE" val="1"/>
  <p:tag name="KSO_WM_UNIT_TEXTBOXSTYLE_ADJUSTLEFT" val="0_0"/>
  <p:tag name="KSO_WM_UNIT_TEXTBOXSTYLE_ADJUSTTOP" val="100_8.900082"/>
  <p:tag name="KSO_WM_UNIT_TEXTBOXSTYLE_ADJUSTWIDTH" val="25.29059_0"/>
  <p:tag name="KSO_WM_UNIT_HIGHLIGHT" val="0"/>
  <p:tag name="KSO_WM_UNIT_COMPATIBLE" val="0"/>
  <p:tag name="KSO_WM_UNIT_DIAGRAM_ISNUMVISUAL" val="0"/>
  <p:tag name="KSO_WM_UNIT_DIAGRAM_ISREFERUNIT" val="0"/>
  <p:tag name="KSO_WM_UNIT_TYPE" val="i"/>
  <p:tag name="KSO_WM_UNIT_INDEX" val="2"/>
  <p:tag name="KSO_WM_UNIT_ID" val="mixed20201883_94*i*2"/>
  <p:tag name="KSO_WM_TEMPLATE_CATEGORY" val="mixed"/>
  <p:tag name="KSO_WM_TEMPLATE_INDEX" val="20201883"/>
  <p:tag name="KSO_WM_UNIT_LAYERLEVEL" val="1"/>
  <p:tag name="KSO_WM_TAG_VERSION" val="1.0"/>
  <p:tag name="KSO_WM_BEAUTIFY_FLAG" val="#wm#"/>
  <p:tag name="KSO_WM_UNIT_TEXTBOXSTYLE_GUID" val="{17d76bcc-9dd8-4943-9bc9-580ab3a5705a}"/>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98.xml><?xml version="1.0" encoding="utf-8"?>
<p:tagLst xmlns:a="http://schemas.openxmlformats.org/drawingml/2006/main" xmlns:r="http://schemas.openxmlformats.org/officeDocument/2006/relationships" xmlns:p="http://schemas.openxmlformats.org/presentationml/2006/main">
  <p:tag name="KSO_WM_SLIDE_ID" val="diagram20211835_1"/>
  <p:tag name="KSO_WM_TEMPLATE_SUBCATEGORY" val="21"/>
  <p:tag name="KSO_WM_TEMPLATE_MASTER_TYPE" val="0"/>
  <p:tag name="KSO_WM_TEMPLATE_COLOR_TYPE" val="1"/>
  <p:tag name="KSO_WM_SLIDE_TYPE" val="text"/>
  <p:tag name="KSO_WM_SLIDE_SUBTYPE" val="picTxt"/>
  <p:tag name="KSO_WM_SLIDE_ITEM_CNT" val="0"/>
  <p:tag name="KSO_WM_SLIDE_INDEX" val="1"/>
  <p:tag name="KSO_WM_SLIDE_SIZE" val="960*408"/>
  <p:tag name="KSO_WM_SLIDE_POSITION" val="0*60"/>
  <p:tag name="KSO_WM_TAG_VERSION" val="1.0"/>
  <p:tag name="KSO_WM_BEAUTIFY_FLAG" val="#wm#"/>
  <p:tag name="KSO_WM_TEMPLATE_CATEGORY" val="diagram"/>
  <p:tag name="KSO_WM_TEMPLATE_INDEX" val="20211835"/>
  <p:tag name="KSO_WM_SLIDE_LAYOUT" val="a_d"/>
  <p:tag name="KSO_WM_SLIDE_LAYOUT_CNT" val="1_2"/>
  <p:tag name="KSO_WM_SLIDE_LAYOUT_INFO" val="{&quot;id&quot;:&quot;2021-04-01T15:31:59&quot;,&quot;maxSize&quot;:{&quot;size1&quot;:26.7},&quot;minSize&quot;:{&quot;size1&quot;:20},&quot;normalSize&quot;:{&quot;size1&quot;:22.4},&quot;subLayout&quot;:[{&quot;id&quot;:&quot;2021-04-01T15:31:59&quot;,&quot;margin&quot;:{&quot;bottom&quot;:0.02600000612437725,&quot;left&quot;:1.6929999589920044,&quot;right&quot;:1.6929999589920044,&quot;top&quot;:1.6929999589920044},&quot;type&quot;:0},{&quot;direction&quot;:1,&quot;id&quot;:&quot;2021-04-01T15:31:59&quot;,&quot;maxSize&quot;:{&quot;size1&quot;:67.5},&quot;minSize&quot;:{&quot;size1&quot;:45},&quot;normalSize&quot;:{&quot;size1&quot;:48.9625},&quot;subLayout&quot;:[{&quot;id&quot;:&quot;2021-04-01T15:31:59&quot;,&quot;margin&quot;:{&quot;bottom&quot;:1.6929999589920044,&quot;left&quot;:1.6929999589920044,&quot;right&quot;:1.243999719619751,&quot;top&quot;:1.6670000553131104},&quot;type&quot;:0},{&quot;id&quot;:&quot;2021-04-01T15:31:59&quot;,&quot;margin&quot;:{&quot;bottom&quot;:1.6929999589920044,&quot;left&quot;:0.02600000612437725,&quot;right&quot;:1.6929999589920044,&quot;top&quot;:1.6670000553131104},&quot;type&quot;:0}],&quot;type&quot;:0}],&quot;type&quot;:0}"/>
  <p:tag name="KSO_WM_SLIDE_CAN_ADD_NAVIGATION" val="1"/>
  <p:tag name="KSO_WM_SLIDE_RATIO" val="1.777778"/>
  <p:tag name="KSO_WM_CHIP_INFOS" val="{&quot;type&quot;:0,&quot;layout_type&quot;:&quot;topbottom&quot;,&quot;layout_feature&quot;:1,&quot;aspect_ratio&quot;:&quot;16:9&quot;,&quot;same_font_size&quot;:false,&quot;diagram&quot;:{&quot;type&quot;:[],&quot;direction&quot;:0,&quot;isSupportDecBetweenItems&quot;:false},&quot;tags&quot;:{&quot;style&quot;:[&quot;商务&quot;,&quot;简约&quot;,&quot;文艺清新&quot;,&quot;中国风&quot;,&quot;卡通&quot;,&quot;欧美风&quot;,&quot;黑板风&quot;,&quot;渐变风&quot;,&quot;党政风&quot;]},&quot;slide_type&quot;:[&quot;text&quot;]}"/>
  <p:tag name="KSO_WM_CHIP_XID" val="5f631d070e9bcbd1695b17db"/>
  <p:tag name="KSO_WM_CHIP_FILLPROP" val="[[{&quot;text_align&quot;:&quot;lt&quot;,&quot;text_direction&quot;:&quot;horizontal&quot;,&quot;support_big_font&quot;:false,&quot;picture_toward&quot;:0,&quot;picture_dockside&quot;:[],&quot;fill_id&quot;:&quot;c4cbc9b2fced405c9fc7a719d189a8f1&quot;,&quot;fill_align&quot;:&quot;lt&quot;,&quot;chip_types&quot;:[&quot;header&quot;]},{&quot;text_align&quot;:&quot;lt&quot;,&quot;text_direction&quot;:&quot;horizontal&quot;,&quot;support_features&quot;:[&quot;collage&quot;],&quot;support_big_font&quot;:false,&quot;picture_toward&quot;:0,&quot;picture_dockside&quot;:[],&quot;fill_id&quot;:&quot;703630537a544035acf5de6956828d87&quot;,&quot;fill_align&quot;:&quot;cm&quot;,&quot;chip_types&quot;:[&quot;diagram&quot;,&quot;text&quot;,&quot;picture&quot;,&quot;chart&quot;,&quot;table&quot;,&quot;video&quot;]},{&quot;text_align&quot;:&quot;lt&quot;,&quot;text_direction&quot;:&quot;horizontal&quot;,&quot;support_big_font&quot;:false,&quot;picture_toward&quot;:0,&quot;picture_dockside&quot;:[],&quot;fill_id&quot;:&quot;b407b34b201641d49d75be095b5a3ec9&quot;,&quot;fill_align&quot;:&quot;cm&quot;,&quot;chip_types&quot;:[&quot;text&quot;,&quot;picture&quot;,&quot;chart&quot;]}]]"/>
  <p:tag name="KSO_WM_CHIP_DECFILLPROP" val="[]"/>
  <p:tag name="KSO_WM_CHIP_GROUPID" val="5f0e73c28050c250ba65b219"/>
  <p:tag name="KSO_WM_SLIDE_BK_DARK_LIGHT" val="2"/>
  <p:tag name="KSO_WM_SLIDE_BACKGROUND_TYPE" val="general"/>
  <p:tag name="KSO_WM_SLIDE_SUPPORT_FEATURE_TYPE" val="0"/>
  <p:tag name="KSO_WM_TEMPLATE_ASSEMBLE_XID" val="60656f2b4054ed1e2fb804cc"/>
  <p:tag name="KSO_WM_TEMPLATE_ASSEMBLE_GROUPID" val="60656f2b4054ed1e2fb804cc"/>
</p:tagLst>
</file>

<file path=ppt/tags/tag99.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24"/>
  <p:tag name="KSO_WM_UNIT_HIGHLIGHT" val="0"/>
  <p:tag name="KSO_WM_UNIT_COMPATIBLE" val="0"/>
  <p:tag name="KSO_WM_UNIT_DIAGRAM_ISNUMVISUAL" val="0"/>
  <p:tag name="KSO_WM_UNIT_DIAGRAM_ISREFERUNIT" val="0"/>
  <p:tag name="KSO_WM_UNIT_TYPE" val="a"/>
  <p:tag name="KSO_WM_UNIT_INDEX" val="1"/>
  <p:tag name="KSO_WM_UNIT_ID" val="diagram20211835_1*a*1"/>
  <p:tag name="KSO_WM_TEMPLATE_CATEGORY" val="diagram"/>
  <p:tag name="KSO_WM_TEMPLATE_INDEX" val="20211835"/>
  <p:tag name="KSO_WM_UNIT_LAYERLEVEL" val="1"/>
  <p:tag name="KSO_WM_TAG_VERSION" val="1.0"/>
  <p:tag name="KSO_WM_BEAUTIFY_FLAG" val="#wm#"/>
  <p:tag name="KSO_WM_UNIT_PRESET_TEXT" val="单击此处添加大标题内容"/>
  <p:tag name="KSO_WM_UNIT_DEFAULT_FONT" val="24;44;4"/>
  <p:tag name="KSO_WM_UNIT_BLOCK" val="0"/>
  <p:tag name="KSO_WM_UNIT_SHOW_EDIT_AREA_INDICATION" val="1"/>
  <p:tag name="KSO_WM_CHIP_GROUPID" val="5e7881253197e252a37019b5"/>
  <p:tag name="KSO_WM_CHIP_XID" val="5e7881253197e252a37019b6"/>
  <p:tag name="KSO_WM_UNIT_DEC_AREA_ID" val="863ab5200c3f47daa38abd7a8d89ab3b"/>
  <p:tag name="KSO_WM_UNIT_DECORATE_INFO" val="{&quot;ReferentInfo&quot;:{&quot;Id&quot;:&quot;slide&quot;,&quot;X&quot;:{&quot;Pos&quot;:0},&quot;Y&quot;:{&quot;Pos&quot;:0}},&quot;DecorateInfoX&quot;:{&quot;Pos&quot;:0,&quot;IsAbs&quot;:false},&quot;DecorateInfoY&quot;:{&quot;Pos&quot;:0,&quot;IsAbs&quot;:false},&quot;DecorateInfoW&quot;:{&quot;IsAbs&quot;:false},&quot;DecorateInfoH&quot;:{&quot;IsAbs&quot;:false},&quot;whChangeMode&quot;:0}"/>
  <p:tag name="KSO_WM_UNIT_SM_LIMIT_TYPE" val="2"/>
  <p:tag name="KSO_WM_CHIP_FILLAREA_FILL_RULE" val="{&quot;fill_align&quot;:&quot;lt&quot;,&quot;fill_mode&quot;:&quot;full&quot;,&quot;sacle_strategy&quot;:&quot;smart&quot;}"/>
  <p:tag name="KSO_WM_ASSEMBLE_CHIP_INDEX" val="46c8bbdd2f2a46b2919a8f5eb16a1eb7"/>
  <p:tag name="KSO_WM_UNIT_TEXT_FILL_FORE_SCHEMECOLOR_INDEX_BRIGHTNESS" val="0"/>
  <p:tag name="KSO_WM_UNIT_TEXT_FILL_FORE_SCHEMECOLOR_INDEX" val="13"/>
  <p:tag name="KSO_WM_UNIT_TEXT_FILL_TYPE" val="1"/>
  <p:tag name="KSO_WM_TEMPLATE_ASSEMBLE_XID" val="60656f2b4054ed1e2fb804cc"/>
  <p:tag name="KSO_WM_TEMPLATE_ASSEMBLE_GROUPID" val="60656f2b4054ed1e2fb804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主题5">
  <a:themeElements>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主题5">
  <a:themeElements>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主题5">
  <a:themeElements>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主题5">
  <a:themeElements>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themeOverride>
</file>

<file path=ppt/theme/themeOverride10.xml><?xml version="1.0" encoding="utf-8"?>
<a:themeOverride xmlns:a="http://schemas.openxmlformats.org/drawingml/2006/main">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themeOverride>
</file>

<file path=ppt/theme/themeOverride8.xml><?xml version="1.0" encoding="utf-8"?>
<a:themeOverride xmlns:a="http://schemas.openxmlformats.org/drawingml/2006/main">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themeOverride>
</file>

<file path=ppt/theme/themeOverride9.xml><?xml version="1.0" encoding="utf-8"?>
<a:themeOverride xmlns:a="http://schemas.openxmlformats.org/drawingml/2006/main">
  <a:clrScheme name="房利美">
    <a:dk1>
      <a:srgbClr val="000000"/>
    </a:dk1>
    <a:lt1>
      <a:srgbClr val="FFFFFF"/>
    </a:lt1>
    <a:dk2>
      <a:srgbClr val="768394"/>
    </a:dk2>
    <a:lt2>
      <a:srgbClr val="F0F0F0"/>
    </a:lt2>
    <a:accent1>
      <a:srgbClr val="3E81C3"/>
    </a:accent1>
    <a:accent2>
      <a:srgbClr val="14879E"/>
    </a:accent2>
    <a:accent3>
      <a:srgbClr val="3EA592"/>
    </a:accent3>
    <a:accent4>
      <a:srgbClr val="5066A2"/>
    </a:accent4>
    <a:accent5>
      <a:srgbClr val="5E5CA2"/>
    </a:accent5>
    <a:accent6>
      <a:srgbClr val="768394"/>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43</TotalTime>
  <Words>1390</Words>
  <Application>Microsoft Office PowerPoint</Application>
  <PresentationFormat>宽屏</PresentationFormat>
  <Paragraphs>256</Paragraphs>
  <Slides>34</Slides>
  <Notes>0</Notes>
  <HiddenSlides>0</HiddenSlides>
  <MMClips>0</MMClips>
  <ScaleCrop>false</ScaleCrop>
  <HeadingPairs>
    <vt:vector size="8" baseType="variant">
      <vt:variant>
        <vt:lpstr>已用的字体</vt:lpstr>
      </vt:variant>
      <vt:variant>
        <vt:i4>9</vt:i4>
      </vt:variant>
      <vt:variant>
        <vt:lpstr>主题</vt:lpstr>
      </vt:variant>
      <vt:variant>
        <vt:i4>5</vt:i4>
      </vt:variant>
      <vt:variant>
        <vt:lpstr>嵌入 OLE 服务器</vt:lpstr>
      </vt:variant>
      <vt:variant>
        <vt:i4>1</vt:i4>
      </vt:variant>
      <vt:variant>
        <vt:lpstr>幻灯片标题</vt:lpstr>
      </vt:variant>
      <vt:variant>
        <vt:i4>34</vt:i4>
      </vt:variant>
    </vt:vector>
  </HeadingPairs>
  <TitlesOfParts>
    <vt:vector size="49" baseType="lpstr">
      <vt:lpstr>Roboto</vt:lpstr>
      <vt:lpstr>等线</vt:lpstr>
      <vt:lpstr>宋体</vt:lpstr>
      <vt:lpstr>微软雅黑</vt:lpstr>
      <vt:lpstr>Arial</vt:lpstr>
      <vt:lpstr>Calibri</vt:lpstr>
      <vt:lpstr>Calibri Light</vt:lpstr>
      <vt:lpstr>Impact</vt:lpstr>
      <vt:lpstr>Wingdings</vt:lpstr>
      <vt:lpstr>主题5</vt:lpstr>
      <vt:lpstr>1_主题5</vt:lpstr>
      <vt:lpstr>2_主题5</vt:lpstr>
      <vt:lpstr>3_主题5</vt:lpstr>
      <vt:lpstr>4_主题5</vt:lpstr>
      <vt:lpstr>think-cell Slide</vt:lpstr>
      <vt:lpstr>B组软件工程综合实验汇报</vt:lpstr>
      <vt:lpstr>PowerPoint 演示文稿</vt:lpstr>
      <vt:lpstr>项目任务及研发过程</vt:lpstr>
      <vt:lpstr>PowerPoint 演示文稿</vt:lpstr>
      <vt:lpstr>PowerPoint 演示文稿</vt:lpstr>
      <vt:lpstr>项目组及成员分工安排</vt:lpstr>
      <vt:lpstr>PowerPoint 演示文稿</vt:lpstr>
      <vt:lpstr>PowerPoint 演示文稿</vt:lpstr>
      <vt:lpstr>PowerPoint 演示文稿</vt:lpstr>
      <vt:lpstr>PowerPoint 演示文稿</vt:lpstr>
      <vt:lpstr>PowerPoint 演示文稿</vt:lpstr>
      <vt:lpstr>项目组进度及里程碑</vt:lpstr>
      <vt:lpstr>PowerPoint 演示文稿</vt:lpstr>
      <vt:lpstr>PowerPoint 演示文稿</vt:lpstr>
      <vt:lpstr>PowerPoint 演示文稿</vt:lpstr>
      <vt:lpstr>项目完成情况</vt:lpstr>
      <vt:lpstr>PowerPoint 演示文稿</vt:lpstr>
      <vt:lpstr>PowerPoint 演示文稿</vt:lpstr>
      <vt:lpstr>架构设计</vt:lpstr>
      <vt:lpstr>PowerPoint 演示文稿</vt:lpstr>
      <vt:lpstr>PowerPoint 演示文稿</vt:lpstr>
      <vt:lpstr>PowerPoint 演示文稿</vt:lpstr>
      <vt:lpstr>接口设计</vt:lpstr>
      <vt:lpstr>PowerPoint 演示文稿</vt:lpstr>
      <vt:lpstr>PowerPoint 演示文稿</vt:lpstr>
      <vt:lpstr>PowerPoint 演示文稿</vt:lpstr>
      <vt:lpstr>项目相关工作量统计数据</vt:lpstr>
      <vt:lpstr>PowerPoint 演示文稿</vt:lpstr>
      <vt:lpstr>PowerPoint 演示文稿</vt:lpstr>
      <vt:lpstr>PowerPoint 演示文稿</vt:lpstr>
      <vt:lpstr>PowerPoint 演示文稿</vt:lpstr>
      <vt:lpstr>会议日志</vt:lpstr>
      <vt:lpstr>PowerPoint 演示文稿</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MECHREVO</cp:lastModifiedBy>
  <cp:revision>29</cp:revision>
  <cp:lastPrinted>2019-06-05T16:00:00Z</cp:lastPrinted>
  <dcterms:created xsi:type="dcterms:W3CDTF">2019-06-05T16:00:00Z</dcterms:created>
  <dcterms:modified xsi:type="dcterms:W3CDTF">2022-06-25T15:05: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CV">
    <vt:lpwstr>0A619240171C46E994FA737B0CA0EB2E</vt:lpwstr>
  </property>
  <property fmtid="{D5CDD505-2E9C-101B-9397-08002B2CF9AE}" pid="4" name="KSOProductBuildVer">
    <vt:lpwstr>2052-11.1.0.11365</vt:lpwstr>
  </property>
</Properties>
</file>